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presentation.xml" ContentType="application/vnd.openxmlformats-officedocument.presentationml.presentation.main+xml"/>
  <Override PartName="/ppt/diagrams/data1.xml" ContentType="application/vnd.openxmlformats-officedocument.drawingml.diagramData+xml"/>
  <Override PartName="/ppt/notesSlides/notesSlide8.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24.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9.xml" ContentType="application/vnd.openxmlformats-officedocument.presentationml.notesSlide+xml"/>
  <Override PartName="/ppt/theme/themeOverride5.xml" ContentType="application/vnd.openxmlformats-officedocument.themeOverride+xml"/>
  <Override PartName="/ppt/theme/themeOverride7.xml" ContentType="application/vnd.openxmlformats-officedocument.themeOverride+xml"/>
  <Override PartName="/ppt/theme/theme1.xml" ContentType="application/vnd.openxmlformats-officedocument.theme+xml"/>
  <Override PartName="/ppt/theme/themeOverride6.xml" ContentType="application/vnd.openxmlformats-officedocument.themeOverride+xml"/>
  <Override PartName="/ppt/theme/theme2.xml" ContentType="application/vnd.openxmlformats-officedocument.theme+xml"/>
  <Override PartName="/ppt/notesMasters/notesMaster1.xml" ContentType="application/vnd.openxmlformats-officedocument.presentationml.notesMaster+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authors.xml" ContentType="application/vnd.ms-powerpoint.authors+xml"/>
  <Override PartName="/ppt/theme/themeOverride2.xml" ContentType="application/vnd.openxmlformats-officedocument.themeOverride+xml"/>
  <Override PartName="/ppt/theme/themeOverride1.xml" ContentType="application/vnd.openxmlformats-officedocument.themeOverride+xml"/>
  <Override PartName="/ppt/theme/theme7.xml" ContentType="application/vnd.openxmlformats-officedocument.theme+xml"/>
  <Override PartName="/ppt/theme/theme6.xml" ContentType="application/vnd.openxmlformats-officedocument.theme+xml"/>
  <Override PartName="/ppt/theme/themeOverride3.xml" ContentType="application/vnd.openxmlformats-officedocument.themeOverride+xml"/>
  <Override PartName="/ppt/theme/themeOverride4.xml" ContentType="application/vnd.openxmlformats-officedocument.themeOverrid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customXml/itemProps1.xml" ContentType="application/vnd.openxmlformats-officedocument.customXmlProperti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15.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13.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17.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29.xml" ContentType="application/vnd.openxmlformats-officedocument.presentationml.tags+xml"/>
  <Override PartName="/ppt/tags/tag8.xml" ContentType="application/vnd.openxmlformats-officedocument.presentationml.tags+xml"/>
  <Override PartName="/ppt/tags/tag14.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revisionInfo.xml" ContentType="application/vnd.ms-powerpoint.revisioninfo+xml"/>
  <Override PartName="/ppt/tags/tag7.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tags/tag18.xml" ContentType="application/vnd.openxmlformats-officedocument.presentationml.tags+xml"/>
  <Override PartName="/ppt/tags/tag12.xml" ContentType="application/vnd.openxmlformats-officedocument.presentationml.tag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 id="2147483712" r:id="rId5"/>
    <p:sldMasterId id="2147483733" r:id="rId6"/>
    <p:sldMasterId id="2147483747" r:id="rId7"/>
    <p:sldMasterId id="2147483766" r:id="rId8"/>
    <p:sldMasterId id="2147483773" r:id="rId9"/>
  </p:sldMasterIdLst>
  <p:notesMasterIdLst>
    <p:notesMasterId r:id="rId42"/>
  </p:notesMasterIdLst>
  <p:sldIdLst>
    <p:sldId id="2147379435" r:id="rId10"/>
    <p:sldId id="2147470292" r:id="rId11"/>
    <p:sldId id="2146847315" r:id="rId12"/>
    <p:sldId id="263" r:id="rId13"/>
    <p:sldId id="2147379436" r:id="rId14"/>
    <p:sldId id="2147379437" r:id="rId15"/>
    <p:sldId id="2147379429" r:id="rId16"/>
    <p:sldId id="2146847298" r:id="rId17"/>
    <p:sldId id="2146847358" r:id="rId18"/>
    <p:sldId id="2147379407" r:id="rId19"/>
    <p:sldId id="2147379441" r:id="rId20"/>
    <p:sldId id="2147379418" r:id="rId21"/>
    <p:sldId id="2147379449" r:id="rId22"/>
    <p:sldId id="2147379448" r:id="rId23"/>
    <p:sldId id="2147470273" r:id="rId24"/>
    <p:sldId id="2147470261" r:id="rId25"/>
    <p:sldId id="2147470281" r:id="rId26"/>
    <p:sldId id="2147470290" r:id="rId27"/>
    <p:sldId id="2147470286" r:id="rId28"/>
    <p:sldId id="258" r:id="rId29"/>
    <p:sldId id="2146847477" r:id="rId30"/>
    <p:sldId id="2147470262" r:id="rId31"/>
    <p:sldId id="2147379447" r:id="rId32"/>
    <p:sldId id="257" r:id="rId33"/>
    <p:sldId id="265" r:id="rId34"/>
    <p:sldId id="262" r:id="rId35"/>
    <p:sldId id="2147470291" r:id="rId36"/>
    <p:sldId id="264" r:id="rId37"/>
    <p:sldId id="2147379451" r:id="rId38"/>
    <p:sldId id="2147379452" r:id="rId39"/>
    <p:sldId id="2147379438" r:id="rId40"/>
    <p:sldId id="2147379446" r:id="rId41"/>
  </p:sldIdLst>
  <p:sldSz cx="12192000" cy="6858000"/>
  <p:notesSz cx="6889750" cy="10021888"/>
  <p:custDataLst>
    <p:tags r:id="rId4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53" userDrawn="1">
          <p15:clr>
            <a:srgbClr val="A4A3A4"/>
          </p15:clr>
        </p15:guide>
        <p15:guide id="2" pos="5360" userDrawn="1">
          <p15:clr>
            <a:srgbClr val="A4A3A4"/>
          </p15:clr>
        </p15:guide>
        <p15:guide id="3" pos="2230" userDrawn="1">
          <p15:clr>
            <a:srgbClr val="A4A3A4"/>
          </p15:clr>
        </p15:guide>
        <p15:guide id="4" orient="horz" pos="459" userDrawn="1">
          <p15:clr>
            <a:srgbClr val="A4A3A4"/>
          </p15:clr>
        </p15:guide>
        <p15:guide id="5" pos="393" userDrawn="1">
          <p15:clr>
            <a:srgbClr val="A4A3A4"/>
          </p15:clr>
        </p15:guide>
        <p15:guide id="6" pos="3840" userDrawn="1">
          <p15:clr>
            <a:srgbClr val="A4A3A4"/>
          </p15:clr>
        </p15:guide>
        <p15:guide id="7" pos="3940" userDrawn="1">
          <p15:clr>
            <a:srgbClr val="A4A3A4"/>
          </p15:clr>
        </p15:guide>
        <p15:guide id="8" pos="40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0F79E6C-16E1-542B-5F8B-C389E874538D}" name="Guest User" initials="GU" userId="S::urn:spo:anon#03ee8ffc32c8f94bc483363be1dcb59f1489c2584e6605eeed6e3a1d13357a4a::" providerId="AD"/>
  <p188:author id="{FEF01FDA-EC1A-C38D-1264-8AB886BC8476}" name="Jens Engelmann" initials="JE" userId="S::jens.engelmann@railiable.com::f943f516-0666-4f80-a19a-8d678d0fdf9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E63"/>
    <a:srgbClr val="97C62E"/>
    <a:srgbClr val="FFC000"/>
    <a:srgbClr val="0C1D3E"/>
    <a:srgbClr val="1B4A69"/>
    <a:srgbClr val="C5E0B4"/>
    <a:srgbClr val="CFD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8D230A-D97C-7036-BF83-C2327AA61FFB}" v="296" dt="2024-04-21T20:17:40.458"/>
    <p1510:client id="{38CCFE69-6E7F-CB4E-AB24-3A6450D23646}" v="1" dt="2024-04-22T12:26:45.783"/>
    <p1510:client id="{4BA171E8-0BE2-BBDC-DB63-2081D779F1F2}" v="101" dt="2024-04-22T12:21:46.712"/>
    <p1510:client id="{629A1969-CB62-B147-62AC-2ECADB816AC1}" v="6" dt="2024-04-22T08:48:57.716"/>
    <p1510:client id="{6803A150-DFC6-3557-8FC0-513788696F73}" v="165" dt="2024-04-22T12:32:31.755"/>
    <p1510:client id="{BF020C6C-BF80-C8FB-8A31-70303029D9BF}" v="2" dt="2024-04-22T09:05:55.064"/>
    <p1510:client id="{D0D7003E-12A1-F661-6A30-7F693743D5D7}" v="29" dt="2024-04-22T12:11:35.294"/>
    <p1510:client id="{D364DA47-6BBF-0431-6B9F-212756F98D0B}" v="201" dt="2024-04-22T08:14:37.920"/>
    <p1510:client id="{D6BB1FF2-6653-41FB-A552-6943015DDC59}" v="4" dt="2024-04-21T10:08:59.188"/>
    <p1510:client id="{DB1FC966-A815-B263-52AC-9AFB9191D1A0}" v="431" dt="2024-04-22T11:55:10.750"/>
    <p1510:client id="{F5D8B2A7-2FAE-0260-017D-72EDED0ADD52}" v="51" dt="2024-04-22T11:27:50.84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1253"/>
        <p:guide pos="5360"/>
        <p:guide pos="2230"/>
        <p:guide orient="horz" pos="459"/>
        <p:guide pos="393"/>
        <p:guide pos="3840"/>
        <p:guide pos="3940"/>
        <p:guide pos="40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openxmlformats.org/officeDocument/2006/relationships/customXml" Target="../customXml/item4.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microsoft.com/office/2018/10/relationships/authors" Targe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ags" Target="tags/tag1.xml"/><Relationship Id="rId48"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customXml" Target="../customXml/item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45DE0A-7BDF-49F2-A7AF-C3D6C5B01063}"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de-DE"/>
        </a:p>
      </dgm:t>
    </dgm:pt>
    <dgm:pt modelId="{907097FB-AE31-499A-8F8D-06047B913BF0}">
      <dgm:prSet phldrT="[Text]" custT="1"/>
      <dgm:spPr>
        <a:solidFill>
          <a:schemeClr val="accent1">
            <a:lumMod val="75000"/>
          </a:schemeClr>
        </a:solidFill>
      </dgm:spPr>
      <dgm:t>
        <a:bodyPr/>
        <a:lstStyle/>
        <a:p>
          <a:r>
            <a:rPr lang="de-DE" sz="1200" b="1"/>
            <a:t>2.</a:t>
          </a:r>
        </a:p>
        <a:p>
          <a:r>
            <a:rPr lang="de-DE" sz="1200" b="1" err="1"/>
            <a:t>Proven</a:t>
          </a:r>
          <a:r>
            <a:rPr lang="de-DE" sz="1200" b="1"/>
            <a:t> </a:t>
          </a:r>
          <a:r>
            <a:rPr lang="de-DE" sz="1200" b="1" err="1"/>
            <a:t>technology</a:t>
          </a:r>
          <a:endParaRPr lang="de-DE" sz="1200" b="1"/>
        </a:p>
      </dgm:t>
    </dgm:pt>
    <dgm:pt modelId="{093FC3CD-FF6B-496F-9DB4-343349857613}" type="parTrans" cxnId="{BD8BD558-6CEC-4F49-AD26-F5FE346C3513}">
      <dgm:prSet/>
      <dgm:spPr/>
      <dgm:t>
        <a:bodyPr/>
        <a:lstStyle/>
        <a:p>
          <a:endParaRPr lang="de-DE" sz="1200" b="1"/>
        </a:p>
      </dgm:t>
    </dgm:pt>
    <dgm:pt modelId="{E6F106C2-D937-42D6-8C7C-7B551FD7E1CA}" type="sibTrans" cxnId="{BD8BD558-6CEC-4F49-AD26-F5FE346C3513}">
      <dgm:prSet custT="1"/>
      <dgm:spPr>
        <a:solidFill>
          <a:schemeClr val="accent1">
            <a:lumMod val="50000"/>
          </a:schemeClr>
        </a:solidFill>
      </dgm:spPr>
      <dgm:t>
        <a:bodyPr/>
        <a:lstStyle/>
        <a:p>
          <a:r>
            <a:rPr lang="de-DE" sz="1200" b="1"/>
            <a:t>1.</a:t>
          </a:r>
        </a:p>
        <a:p>
          <a:r>
            <a:rPr lang="de-DE" sz="1200" b="1"/>
            <a:t>Single European</a:t>
          </a:r>
          <a:br>
            <a:rPr lang="de-DE" sz="1200" b="1"/>
          </a:br>
          <a:r>
            <a:rPr lang="de-DE" sz="1200" b="1"/>
            <a:t> DAC </a:t>
          </a:r>
          <a:r>
            <a:rPr lang="de-DE" sz="1200" b="1" err="1"/>
            <a:t>system</a:t>
          </a:r>
          <a:endParaRPr lang="de-DE" sz="1200" b="1"/>
        </a:p>
      </dgm:t>
    </dgm:pt>
    <dgm:pt modelId="{8639A0C0-D3C0-4CF3-B3E5-3C8A2C753EE0}">
      <dgm:prSet phldrT="[Text]" custT="1"/>
      <dgm:spPr>
        <a:solidFill>
          <a:schemeClr val="tx2">
            <a:lumMod val="60000"/>
            <a:lumOff val="40000"/>
          </a:schemeClr>
        </a:solidFill>
      </dgm:spPr>
      <dgm:t>
        <a:bodyPr/>
        <a:lstStyle/>
        <a:p>
          <a:r>
            <a:rPr lang="de-DE" sz="1100" b="1"/>
            <a:t>3.</a:t>
          </a:r>
        </a:p>
        <a:p>
          <a:r>
            <a:rPr lang="de-DE" sz="1100" b="1" err="1"/>
            <a:t>Proven</a:t>
          </a:r>
          <a:r>
            <a:rPr lang="de-DE" sz="1100" b="1"/>
            <a:t> operational </a:t>
          </a:r>
          <a:r>
            <a:rPr lang="de-DE" sz="1100" b="1" err="1"/>
            <a:t>functio</a:t>
          </a:r>
          <a:r>
            <a:rPr lang="de-DE" sz="1100" b="1"/>
            <a:t>-</a:t>
          </a:r>
          <a:br>
            <a:rPr lang="de-DE" sz="1100" b="1"/>
          </a:br>
          <a:r>
            <a:rPr lang="de-DE" sz="1100" b="1" err="1"/>
            <a:t>nality</a:t>
          </a:r>
          <a:endParaRPr lang="de-DE" sz="1100" b="1"/>
        </a:p>
      </dgm:t>
    </dgm:pt>
    <dgm:pt modelId="{45341ABD-EB20-4922-8C42-7A0787CFF274}" type="parTrans" cxnId="{65714EF8-E821-41F9-8E52-518CF48D2B42}">
      <dgm:prSet/>
      <dgm:spPr/>
      <dgm:t>
        <a:bodyPr/>
        <a:lstStyle/>
        <a:p>
          <a:endParaRPr lang="de-DE" sz="1200" b="1"/>
        </a:p>
      </dgm:t>
    </dgm:pt>
    <dgm:pt modelId="{A222E1AE-3A8B-40C7-9BC3-4EF488522D1E}" type="sibTrans" cxnId="{65714EF8-E821-41F9-8E52-518CF48D2B42}">
      <dgm:prSet custT="1"/>
      <dgm:spPr>
        <a:solidFill>
          <a:schemeClr val="accent2">
            <a:lumMod val="50000"/>
          </a:schemeClr>
        </a:solidFill>
      </dgm:spPr>
      <dgm:t>
        <a:bodyPr/>
        <a:lstStyle/>
        <a:p>
          <a:r>
            <a:rPr lang="de-DE" sz="1200" b="1"/>
            <a:t>4.</a:t>
          </a:r>
        </a:p>
        <a:p>
          <a:r>
            <a:rPr lang="en-GB" sz="1200" b="1" noProof="0"/>
            <a:t>available adequate funding</a:t>
          </a:r>
        </a:p>
      </dgm:t>
    </dgm:pt>
    <dgm:pt modelId="{30E58A3B-BDCE-40F9-9CBB-D054F86F9A5D}">
      <dgm:prSet phldrT="[Text]" custT="1"/>
      <dgm:spPr>
        <a:solidFill>
          <a:schemeClr val="accent2">
            <a:lumMod val="60000"/>
            <a:lumOff val="40000"/>
          </a:schemeClr>
        </a:solidFill>
      </dgm:spPr>
      <dgm:t>
        <a:bodyPr/>
        <a:lstStyle/>
        <a:p>
          <a:r>
            <a:rPr lang="de-DE" sz="1200" b="1"/>
            <a:t>6.</a:t>
          </a:r>
        </a:p>
        <a:p>
          <a:r>
            <a:rPr lang="de-DE" sz="1200" b="1"/>
            <a:t>Sound </a:t>
          </a:r>
          <a:r>
            <a:rPr lang="de-DE" sz="1200" b="1" err="1"/>
            <a:t>migration</a:t>
          </a:r>
          <a:r>
            <a:rPr lang="de-DE" sz="1200" b="1"/>
            <a:t> plan</a:t>
          </a:r>
        </a:p>
      </dgm:t>
    </dgm:pt>
    <dgm:pt modelId="{E17550E5-69A8-4343-972F-009366647010}" type="parTrans" cxnId="{92459363-BB12-4817-A5D1-6908A37F7605}">
      <dgm:prSet/>
      <dgm:spPr/>
      <dgm:t>
        <a:bodyPr/>
        <a:lstStyle/>
        <a:p>
          <a:endParaRPr lang="de-DE" sz="1200" b="1"/>
        </a:p>
      </dgm:t>
    </dgm:pt>
    <dgm:pt modelId="{12321F3D-2623-4369-AEAE-E3BC4F0C1843}" type="sibTrans" cxnId="{92459363-BB12-4817-A5D1-6908A37F7605}">
      <dgm:prSet custT="1"/>
      <dgm:spPr>
        <a:solidFill>
          <a:schemeClr val="accent2">
            <a:lumMod val="40000"/>
            <a:lumOff val="60000"/>
          </a:schemeClr>
        </a:solidFill>
      </dgm:spPr>
      <dgm:t>
        <a:bodyPr/>
        <a:lstStyle/>
        <a:p>
          <a:r>
            <a:rPr lang="de-DE" sz="1100" b="1"/>
            <a:t>5.</a:t>
          </a:r>
        </a:p>
        <a:p>
          <a:r>
            <a:rPr lang="de-DE" sz="1100" b="1"/>
            <a:t>Simple </a:t>
          </a:r>
          <a:r>
            <a:rPr lang="de-DE" sz="1100" b="1" err="1"/>
            <a:t>authorisation</a:t>
          </a:r>
          <a:endParaRPr lang="de-DE" sz="1100" b="1"/>
        </a:p>
      </dgm:t>
    </dgm:pt>
    <dgm:pt modelId="{A971CACD-EF5E-4548-B466-4E1EF5103510}" type="pres">
      <dgm:prSet presAssocID="{4645DE0A-7BDF-49F2-A7AF-C3D6C5B01063}" presName="Name0" presStyleCnt="0">
        <dgm:presLayoutVars>
          <dgm:chMax/>
          <dgm:chPref/>
          <dgm:dir/>
          <dgm:animLvl val="lvl"/>
        </dgm:presLayoutVars>
      </dgm:prSet>
      <dgm:spPr/>
    </dgm:pt>
    <dgm:pt modelId="{BB202807-B589-4D0F-A6DC-4170D3356E84}" type="pres">
      <dgm:prSet presAssocID="{907097FB-AE31-499A-8F8D-06047B913BF0}" presName="composite" presStyleCnt="0"/>
      <dgm:spPr/>
    </dgm:pt>
    <dgm:pt modelId="{46C03E30-70AF-4C7B-80E3-021BFAFDC23B}" type="pres">
      <dgm:prSet presAssocID="{907097FB-AE31-499A-8F8D-06047B913BF0}" presName="Parent1" presStyleLbl="node1" presStyleIdx="0" presStyleCnt="6">
        <dgm:presLayoutVars>
          <dgm:chMax val="1"/>
          <dgm:chPref val="1"/>
          <dgm:bulletEnabled val="1"/>
        </dgm:presLayoutVars>
      </dgm:prSet>
      <dgm:spPr/>
    </dgm:pt>
    <dgm:pt modelId="{E267CD58-71B0-4D49-B3C6-7E12F3D8C5F1}" type="pres">
      <dgm:prSet presAssocID="{907097FB-AE31-499A-8F8D-06047B913BF0}" presName="Childtext1" presStyleLbl="revTx" presStyleIdx="0" presStyleCnt="3">
        <dgm:presLayoutVars>
          <dgm:chMax val="0"/>
          <dgm:chPref val="0"/>
          <dgm:bulletEnabled val="1"/>
        </dgm:presLayoutVars>
      </dgm:prSet>
      <dgm:spPr/>
    </dgm:pt>
    <dgm:pt modelId="{5F699946-DD3F-488D-9E23-545CC0BC3711}" type="pres">
      <dgm:prSet presAssocID="{907097FB-AE31-499A-8F8D-06047B913BF0}" presName="BalanceSpacing" presStyleCnt="0"/>
      <dgm:spPr/>
    </dgm:pt>
    <dgm:pt modelId="{16EE840C-2D9A-43DA-91A8-7E49A928127B}" type="pres">
      <dgm:prSet presAssocID="{907097FB-AE31-499A-8F8D-06047B913BF0}" presName="BalanceSpacing1" presStyleCnt="0"/>
      <dgm:spPr/>
    </dgm:pt>
    <dgm:pt modelId="{89DFA02C-9084-4E0A-80E3-9F06AD3CCFD3}" type="pres">
      <dgm:prSet presAssocID="{E6F106C2-D937-42D6-8C7C-7B551FD7E1CA}" presName="Accent1Text" presStyleLbl="node1" presStyleIdx="1" presStyleCnt="6"/>
      <dgm:spPr/>
    </dgm:pt>
    <dgm:pt modelId="{BE63BC42-F741-4758-AF35-E73D7BDD60E5}" type="pres">
      <dgm:prSet presAssocID="{E6F106C2-D937-42D6-8C7C-7B551FD7E1CA}" presName="spaceBetweenRectangles" presStyleCnt="0"/>
      <dgm:spPr/>
    </dgm:pt>
    <dgm:pt modelId="{19EE2603-FE27-4199-A68C-A5E9BBD72E1E}" type="pres">
      <dgm:prSet presAssocID="{8639A0C0-D3C0-4CF3-B3E5-3C8A2C753EE0}" presName="composite" presStyleCnt="0"/>
      <dgm:spPr/>
    </dgm:pt>
    <dgm:pt modelId="{FDAE6480-9D4C-45D4-BEBA-86D6FE06E85D}" type="pres">
      <dgm:prSet presAssocID="{8639A0C0-D3C0-4CF3-B3E5-3C8A2C753EE0}" presName="Parent1" presStyleLbl="node1" presStyleIdx="2" presStyleCnt="6" custLinFactX="-6352" custLinFactNeighborX="-100000" custLinFactNeighborY="0">
        <dgm:presLayoutVars>
          <dgm:chMax val="1"/>
          <dgm:chPref val="1"/>
          <dgm:bulletEnabled val="1"/>
        </dgm:presLayoutVars>
      </dgm:prSet>
      <dgm:spPr/>
    </dgm:pt>
    <dgm:pt modelId="{F1A6EBFD-A2AD-43BB-83DC-0BD91A701D3F}" type="pres">
      <dgm:prSet presAssocID="{8639A0C0-D3C0-4CF3-B3E5-3C8A2C753EE0}" presName="Childtext1" presStyleLbl="revTx" presStyleIdx="1" presStyleCnt="3">
        <dgm:presLayoutVars>
          <dgm:chMax val="0"/>
          <dgm:chPref val="0"/>
          <dgm:bulletEnabled val="1"/>
        </dgm:presLayoutVars>
      </dgm:prSet>
      <dgm:spPr/>
    </dgm:pt>
    <dgm:pt modelId="{B78D4EF4-ED12-45EC-979A-5E08A19411FC}" type="pres">
      <dgm:prSet presAssocID="{8639A0C0-D3C0-4CF3-B3E5-3C8A2C753EE0}" presName="BalanceSpacing" presStyleCnt="0"/>
      <dgm:spPr/>
    </dgm:pt>
    <dgm:pt modelId="{46CF11EC-DD5F-437D-9C7E-60F4DAF7DBA6}" type="pres">
      <dgm:prSet presAssocID="{8639A0C0-D3C0-4CF3-B3E5-3C8A2C753EE0}" presName="BalanceSpacing1" presStyleCnt="0"/>
      <dgm:spPr/>
    </dgm:pt>
    <dgm:pt modelId="{82BEA704-0794-429F-B0B6-A2D2736FE9FA}" type="pres">
      <dgm:prSet presAssocID="{A222E1AE-3A8B-40C7-9BC3-4EF488522D1E}" presName="Accent1Text" presStyleLbl="node1" presStyleIdx="3" presStyleCnt="6"/>
      <dgm:spPr/>
    </dgm:pt>
    <dgm:pt modelId="{7438D6D5-9C13-48AA-88D8-2AA3EA16319D}" type="pres">
      <dgm:prSet presAssocID="{A222E1AE-3A8B-40C7-9BC3-4EF488522D1E}" presName="spaceBetweenRectangles" presStyleCnt="0"/>
      <dgm:spPr/>
    </dgm:pt>
    <dgm:pt modelId="{4FBCD443-A652-4A91-85B7-BD60118DBD6F}" type="pres">
      <dgm:prSet presAssocID="{30E58A3B-BDCE-40F9-9CBB-D054F86F9A5D}" presName="composite" presStyleCnt="0"/>
      <dgm:spPr/>
    </dgm:pt>
    <dgm:pt modelId="{59395852-4517-4BA4-A864-EB2A64964968}" type="pres">
      <dgm:prSet presAssocID="{30E58A3B-BDCE-40F9-9CBB-D054F86F9A5D}" presName="Parent1" presStyleLbl="node1" presStyleIdx="4" presStyleCnt="6">
        <dgm:presLayoutVars>
          <dgm:chMax val="1"/>
          <dgm:chPref val="1"/>
          <dgm:bulletEnabled val="1"/>
        </dgm:presLayoutVars>
      </dgm:prSet>
      <dgm:spPr/>
    </dgm:pt>
    <dgm:pt modelId="{E4122239-556D-4F31-8F68-A3180DE81795}" type="pres">
      <dgm:prSet presAssocID="{30E58A3B-BDCE-40F9-9CBB-D054F86F9A5D}" presName="Childtext1" presStyleLbl="revTx" presStyleIdx="2" presStyleCnt="3">
        <dgm:presLayoutVars>
          <dgm:chMax val="0"/>
          <dgm:chPref val="0"/>
          <dgm:bulletEnabled val="1"/>
        </dgm:presLayoutVars>
      </dgm:prSet>
      <dgm:spPr/>
    </dgm:pt>
    <dgm:pt modelId="{E66F3D79-BF63-427C-B45C-FA81327792D2}" type="pres">
      <dgm:prSet presAssocID="{30E58A3B-BDCE-40F9-9CBB-D054F86F9A5D}" presName="BalanceSpacing" presStyleCnt="0"/>
      <dgm:spPr/>
    </dgm:pt>
    <dgm:pt modelId="{1F91845B-5562-4CE4-96D7-CB64AE2488C5}" type="pres">
      <dgm:prSet presAssocID="{30E58A3B-BDCE-40F9-9CBB-D054F86F9A5D}" presName="BalanceSpacing1" presStyleCnt="0"/>
      <dgm:spPr/>
    </dgm:pt>
    <dgm:pt modelId="{3C2B7B7F-6BBD-4212-ABC1-6E7E6CF4A2E5}" type="pres">
      <dgm:prSet presAssocID="{12321F3D-2623-4369-AEAE-E3BC4F0C1843}" presName="Accent1Text" presStyleLbl="node1" presStyleIdx="5" presStyleCnt="6"/>
      <dgm:spPr/>
    </dgm:pt>
  </dgm:ptLst>
  <dgm:cxnLst>
    <dgm:cxn modelId="{92459363-BB12-4817-A5D1-6908A37F7605}" srcId="{4645DE0A-7BDF-49F2-A7AF-C3D6C5B01063}" destId="{30E58A3B-BDCE-40F9-9CBB-D054F86F9A5D}" srcOrd="2" destOrd="0" parTransId="{E17550E5-69A8-4343-972F-009366647010}" sibTransId="{12321F3D-2623-4369-AEAE-E3BC4F0C1843}"/>
    <dgm:cxn modelId="{05377856-B834-4A16-8F3A-0A2D54A8654C}" type="presOf" srcId="{8639A0C0-D3C0-4CF3-B3E5-3C8A2C753EE0}" destId="{FDAE6480-9D4C-45D4-BEBA-86D6FE06E85D}" srcOrd="0" destOrd="0" presId="urn:microsoft.com/office/officeart/2008/layout/AlternatingHexagons"/>
    <dgm:cxn modelId="{291D0158-AC1C-47A4-8061-B5800580D62E}" type="presOf" srcId="{12321F3D-2623-4369-AEAE-E3BC4F0C1843}" destId="{3C2B7B7F-6BBD-4212-ABC1-6E7E6CF4A2E5}" srcOrd="0" destOrd="0" presId="urn:microsoft.com/office/officeart/2008/layout/AlternatingHexagons"/>
    <dgm:cxn modelId="{BD8BD558-6CEC-4F49-AD26-F5FE346C3513}" srcId="{4645DE0A-7BDF-49F2-A7AF-C3D6C5B01063}" destId="{907097FB-AE31-499A-8F8D-06047B913BF0}" srcOrd="0" destOrd="0" parTransId="{093FC3CD-FF6B-496F-9DB4-343349857613}" sibTransId="{E6F106C2-D937-42D6-8C7C-7B551FD7E1CA}"/>
    <dgm:cxn modelId="{2626DE9F-7AAD-4A5E-8FB5-D9627D6D9662}" type="presOf" srcId="{A222E1AE-3A8B-40C7-9BC3-4EF488522D1E}" destId="{82BEA704-0794-429F-B0B6-A2D2736FE9FA}" srcOrd="0" destOrd="0" presId="urn:microsoft.com/office/officeart/2008/layout/AlternatingHexagons"/>
    <dgm:cxn modelId="{F0F4ECC3-4A4E-491E-BD87-4CA6398C3F49}" type="presOf" srcId="{E6F106C2-D937-42D6-8C7C-7B551FD7E1CA}" destId="{89DFA02C-9084-4E0A-80E3-9F06AD3CCFD3}" srcOrd="0" destOrd="0" presId="urn:microsoft.com/office/officeart/2008/layout/AlternatingHexagons"/>
    <dgm:cxn modelId="{184B02C5-A0C8-465E-96E4-07DECB3F7EEB}" type="presOf" srcId="{4645DE0A-7BDF-49F2-A7AF-C3D6C5B01063}" destId="{A971CACD-EF5E-4548-B466-4E1EF5103510}" srcOrd="0" destOrd="0" presId="urn:microsoft.com/office/officeart/2008/layout/AlternatingHexagons"/>
    <dgm:cxn modelId="{35CBE2D3-2824-4FA0-88FC-2768974757C3}" type="presOf" srcId="{30E58A3B-BDCE-40F9-9CBB-D054F86F9A5D}" destId="{59395852-4517-4BA4-A864-EB2A64964968}" srcOrd="0" destOrd="0" presId="urn:microsoft.com/office/officeart/2008/layout/AlternatingHexagons"/>
    <dgm:cxn modelId="{65714EF8-E821-41F9-8E52-518CF48D2B42}" srcId="{4645DE0A-7BDF-49F2-A7AF-C3D6C5B01063}" destId="{8639A0C0-D3C0-4CF3-B3E5-3C8A2C753EE0}" srcOrd="1" destOrd="0" parTransId="{45341ABD-EB20-4922-8C42-7A0787CFF274}" sibTransId="{A222E1AE-3A8B-40C7-9BC3-4EF488522D1E}"/>
    <dgm:cxn modelId="{B1F1FEFA-4C97-4E2B-B913-40387DB4E07E}" type="presOf" srcId="{907097FB-AE31-499A-8F8D-06047B913BF0}" destId="{46C03E30-70AF-4C7B-80E3-021BFAFDC23B}" srcOrd="0" destOrd="0" presId="urn:microsoft.com/office/officeart/2008/layout/AlternatingHexagons"/>
    <dgm:cxn modelId="{9096F461-8D7E-4FDB-B4A8-62CD6B7A2FA5}" type="presParOf" srcId="{A971CACD-EF5E-4548-B466-4E1EF5103510}" destId="{BB202807-B589-4D0F-A6DC-4170D3356E84}" srcOrd="0" destOrd="0" presId="urn:microsoft.com/office/officeart/2008/layout/AlternatingHexagons"/>
    <dgm:cxn modelId="{77A907B2-4448-401E-8B2E-2E0D121D0C82}" type="presParOf" srcId="{BB202807-B589-4D0F-A6DC-4170D3356E84}" destId="{46C03E30-70AF-4C7B-80E3-021BFAFDC23B}" srcOrd="0" destOrd="0" presId="urn:microsoft.com/office/officeart/2008/layout/AlternatingHexagons"/>
    <dgm:cxn modelId="{1CB70DAC-4B54-4539-8097-4CF12D6DB706}" type="presParOf" srcId="{BB202807-B589-4D0F-A6DC-4170D3356E84}" destId="{E267CD58-71B0-4D49-B3C6-7E12F3D8C5F1}" srcOrd="1" destOrd="0" presId="urn:microsoft.com/office/officeart/2008/layout/AlternatingHexagons"/>
    <dgm:cxn modelId="{9904FC71-700C-4080-8EEF-297A53A7224B}" type="presParOf" srcId="{BB202807-B589-4D0F-A6DC-4170D3356E84}" destId="{5F699946-DD3F-488D-9E23-545CC0BC3711}" srcOrd="2" destOrd="0" presId="urn:microsoft.com/office/officeart/2008/layout/AlternatingHexagons"/>
    <dgm:cxn modelId="{9CF9CBEB-FAFC-43DC-B64D-B3E11FD0DAC1}" type="presParOf" srcId="{BB202807-B589-4D0F-A6DC-4170D3356E84}" destId="{16EE840C-2D9A-43DA-91A8-7E49A928127B}" srcOrd="3" destOrd="0" presId="urn:microsoft.com/office/officeart/2008/layout/AlternatingHexagons"/>
    <dgm:cxn modelId="{B000EA7D-118A-4EAE-84E2-B4B5282D4C18}" type="presParOf" srcId="{BB202807-B589-4D0F-A6DC-4170D3356E84}" destId="{89DFA02C-9084-4E0A-80E3-9F06AD3CCFD3}" srcOrd="4" destOrd="0" presId="urn:microsoft.com/office/officeart/2008/layout/AlternatingHexagons"/>
    <dgm:cxn modelId="{33D775DF-F27C-47B6-8946-7E0B9BD9EA72}" type="presParOf" srcId="{A971CACD-EF5E-4548-B466-4E1EF5103510}" destId="{BE63BC42-F741-4758-AF35-E73D7BDD60E5}" srcOrd="1" destOrd="0" presId="urn:microsoft.com/office/officeart/2008/layout/AlternatingHexagons"/>
    <dgm:cxn modelId="{405487F0-BDC0-4159-B4D5-A5D0F295F4F3}" type="presParOf" srcId="{A971CACD-EF5E-4548-B466-4E1EF5103510}" destId="{19EE2603-FE27-4199-A68C-A5E9BBD72E1E}" srcOrd="2" destOrd="0" presId="urn:microsoft.com/office/officeart/2008/layout/AlternatingHexagons"/>
    <dgm:cxn modelId="{62E04B21-9350-4846-8268-3042914D8B7E}" type="presParOf" srcId="{19EE2603-FE27-4199-A68C-A5E9BBD72E1E}" destId="{FDAE6480-9D4C-45D4-BEBA-86D6FE06E85D}" srcOrd="0" destOrd="0" presId="urn:microsoft.com/office/officeart/2008/layout/AlternatingHexagons"/>
    <dgm:cxn modelId="{14C6298E-77E6-4E2A-9228-17B425039132}" type="presParOf" srcId="{19EE2603-FE27-4199-A68C-A5E9BBD72E1E}" destId="{F1A6EBFD-A2AD-43BB-83DC-0BD91A701D3F}" srcOrd="1" destOrd="0" presId="urn:microsoft.com/office/officeart/2008/layout/AlternatingHexagons"/>
    <dgm:cxn modelId="{8B5F3907-1FD4-471B-9A93-674EBF2DAC7D}" type="presParOf" srcId="{19EE2603-FE27-4199-A68C-A5E9BBD72E1E}" destId="{B78D4EF4-ED12-45EC-979A-5E08A19411FC}" srcOrd="2" destOrd="0" presId="urn:microsoft.com/office/officeart/2008/layout/AlternatingHexagons"/>
    <dgm:cxn modelId="{4B8CB234-B3D3-4BA7-8E33-781384533EB4}" type="presParOf" srcId="{19EE2603-FE27-4199-A68C-A5E9BBD72E1E}" destId="{46CF11EC-DD5F-437D-9C7E-60F4DAF7DBA6}" srcOrd="3" destOrd="0" presId="urn:microsoft.com/office/officeart/2008/layout/AlternatingHexagons"/>
    <dgm:cxn modelId="{39A56CA2-8B0B-41EC-9482-31665A8B39FD}" type="presParOf" srcId="{19EE2603-FE27-4199-A68C-A5E9BBD72E1E}" destId="{82BEA704-0794-429F-B0B6-A2D2736FE9FA}" srcOrd="4" destOrd="0" presId="urn:microsoft.com/office/officeart/2008/layout/AlternatingHexagons"/>
    <dgm:cxn modelId="{852F67ED-63A3-4159-A394-66ADC41AC380}" type="presParOf" srcId="{A971CACD-EF5E-4548-B466-4E1EF5103510}" destId="{7438D6D5-9C13-48AA-88D8-2AA3EA16319D}" srcOrd="3" destOrd="0" presId="urn:microsoft.com/office/officeart/2008/layout/AlternatingHexagons"/>
    <dgm:cxn modelId="{4B699986-AFBE-4521-AE17-5C2304C9A23C}" type="presParOf" srcId="{A971CACD-EF5E-4548-B466-4E1EF5103510}" destId="{4FBCD443-A652-4A91-85B7-BD60118DBD6F}" srcOrd="4" destOrd="0" presId="urn:microsoft.com/office/officeart/2008/layout/AlternatingHexagons"/>
    <dgm:cxn modelId="{89FE48C8-82F8-410B-A360-FBC38143BFF0}" type="presParOf" srcId="{4FBCD443-A652-4A91-85B7-BD60118DBD6F}" destId="{59395852-4517-4BA4-A864-EB2A64964968}" srcOrd="0" destOrd="0" presId="urn:microsoft.com/office/officeart/2008/layout/AlternatingHexagons"/>
    <dgm:cxn modelId="{6CBAB9AD-C915-45ED-951C-8065970166F1}" type="presParOf" srcId="{4FBCD443-A652-4A91-85B7-BD60118DBD6F}" destId="{E4122239-556D-4F31-8F68-A3180DE81795}" srcOrd="1" destOrd="0" presId="urn:microsoft.com/office/officeart/2008/layout/AlternatingHexagons"/>
    <dgm:cxn modelId="{214713C1-0CA0-4430-AB93-1C4D22367633}" type="presParOf" srcId="{4FBCD443-A652-4A91-85B7-BD60118DBD6F}" destId="{E66F3D79-BF63-427C-B45C-FA81327792D2}" srcOrd="2" destOrd="0" presId="urn:microsoft.com/office/officeart/2008/layout/AlternatingHexagons"/>
    <dgm:cxn modelId="{B67AC884-A61B-4441-B7E0-CF7AF38A39BE}" type="presParOf" srcId="{4FBCD443-A652-4A91-85B7-BD60118DBD6F}" destId="{1F91845B-5562-4CE4-96D7-CB64AE2488C5}" srcOrd="3" destOrd="0" presId="urn:microsoft.com/office/officeart/2008/layout/AlternatingHexagons"/>
    <dgm:cxn modelId="{7440ED40-055B-44C4-B65B-354790242C97}" type="presParOf" srcId="{4FBCD443-A652-4A91-85B7-BD60118DBD6F}" destId="{3C2B7B7F-6BBD-4212-ABC1-6E7E6CF4A2E5}"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C03E30-70AF-4C7B-80E3-021BFAFDC23B}">
      <dsp:nvSpPr>
        <dsp:cNvPr id="0" name=""/>
        <dsp:cNvSpPr/>
      </dsp:nvSpPr>
      <dsp:spPr>
        <a:xfrm rot="5400000">
          <a:off x="2654413" y="98898"/>
          <a:ext cx="1520394" cy="1322743"/>
        </a:xfrm>
        <a:prstGeom prst="hexagon">
          <a:avLst>
            <a:gd name="adj" fmla="val 25000"/>
            <a:gd name="vf" fmla="val 115470"/>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a:t>2.</a:t>
          </a:r>
        </a:p>
        <a:p>
          <a:pPr marL="0" lvl="0" indent="0" algn="ctr" defTabSz="533400">
            <a:lnSpc>
              <a:spcPct val="90000"/>
            </a:lnSpc>
            <a:spcBef>
              <a:spcPct val="0"/>
            </a:spcBef>
            <a:spcAft>
              <a:spcPct val="35000"/>
            </a:spcAft>
            <a:buNone/>
          </a:pPr>
          <a:r>
            <a:rPr lang="de-DE" sz="1200" b="1" kern="1200" err="1"/>
            <a:t>Proven</a:t>
          </a:r>
          <a:r>
            <a:rPr lang="de-DE" sz="1200" b="1" kern="1200"/>
            <a:t> </a:t>
          </a:r>
          <a:r>
            <a:rPr lang="de-DE" sz="1200" b="1" kern="1200" err="1"/>
            <a:t>technology</a:t>
          </a:r>
          <a:endParaRPr lang="de-DE" sz="1200" b="1" kern="1200"/>
        </a:p>
      </dsp:txBody>
      <dsp:txXfrm rot="-5400000">
        <a:off x="2959365" y="237001"/>
        <a:ext cx="910489" cy="1046538"/>
      </dsp:txXfrm>
    </dsp:sp>
    <dsp:sp modelId="{E267CD58-71B0-4D49-B3C6-7E12F3D8C5F1}">
      <dsp:nvSpPr>
        <dsp:cNvPr id="0" name=""/>
        <dsp:cNvSpPr/>
      </dsp:nvSpPr>
      <dsp:spPr>
        <a:xfrm>
          <a:off x="4116121" y="304151"/>
          <a:ext cx="1696760" cy="912236"/>
        </a:xfrm>
        <a:prstGeom prst="rect">
          <a:avLst/>
        </a:prstGeom>
        <a:noFill/>
        <a:ln>
          <a:noFill/>
        </a:ln>
        <a:effectLst/>
      </dsp:spPr>
      <dsp:style>
        <a:lnRef idx="0">
          <a:scrgbClr r="0" g="0" b="0"/>
        </a:lnRef>
        <a:fillRef idx="0">
          <a:scrgbClr r="0" g="0" b="0"/>
        </a:fillRef>
        <a:effectRef idx="0">
          <a:scrgbClr r="0" g="0" b="0"/>
        </a:effectRef>
        <a:fontRef idx="minor"/>
      </dsp:style>
    </dsp:sp>
    <dsp:sp modelId="{89DFA02C-9084-4E0A-80E3-9F06AD3CCFD3}">
      <dsp:nvSpPr>
        <dsp:cNvPr id="0" name=""/>
        <dsp:cNvSpPr/>
      </dsp:nvSpPr>
      <dsp:spPr>
        <a:xfrm rot="5400000">
          <a:off x="1225850" y="98898"/>
          <a:ext cx="1520394" cy="1322743"/>
        </a:xfrm>
        <a:prstGeom prst="hexagon">
          <a:avLst>
            <a:gd name="adj" fmla="val 25000"/>
            <a:gd name="vf" fmla="val 115470"/>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a:t>1.</a:t>
          </a:r>
        </a:p>
        <a:p>
          <a:pPr marL="0" lvl="0" indent="0" algn="ctr" defTabSz="533400">
            <a:lnSpc>
              <a:spcPct val="90000"/>
            </a:lnSpc>
            <a:spcBef>
              <a:spcPct val="0"/>
            </a:spcBef>
            <a:spcAft>
              <a:spcPct val="35000"/>
            </a:spcAft>
            <a:buNone/>
          </a:pPr>
          <a:r>
            <a:rPr lang="de-DE" sz="1200" b="1" kern="1200"/>
            <a:t>Single European</a:t>
          </a:r>
          <a:br>
            <a:rPr lang="de-DE" sz="1200" b="1" kern="1200"/>
          </a:br>
          <a:r>
            <a:rPr lang="de-DE" sz="1200" b="1" kern="1200"/>
            <a:t> DAC </a:t>
          </a:r>
          <a:r>
            <a:rPr lang="de-DE" sz="1200" b="1" kern="1200" err="1"/>
            <a:t>system</a:t>
          </a:r>
          <a:endParaRPr lang="de-DE" sz="1200" b="1" kern="1200"/>
        </a:p>
      </dsp:txBody>
      <dsp:txXfrm rot="-5400000">
        <a:off x="1530802" y="237001"/>
        <a:ext cx="910489" cy="1046538"/>
      </dsp:txXfrm>
    </dsp:sp>
    <dsp:sp modelId="{FDAE6480-9D4C-45D4-BEBA-86D6FE06E85D}">
      <dsp:nvSpPr>
        <dsp:cNvPr id="0" name=""/>
        <dsp:cNvSpPr/>
      </dsp:nvSpPr>
      <dsp:spPr>
        <a:xfrm rot="5400000">
          <a:off x="530631" y="1389409"/>
          <a:ext cx="1520394" cy="1322743"/>
        </a:xfrm>
        <a:prstGeom prst="hexagon">
          <a:avLst>
            <a:gd name="adj" fmla="val 25000"/>
            <a:gd name="vf" fmla="val 115470"/>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1" kern="1200"/>
            <a:t>3.</a:t>
          </a:r>
        </a:p>
        <a:p>
          <a:pPr marL="0" lvl="0" indent="0" algn="ctr" defTabSz="488950">
            <a:lnSpc>
              <a:spcPct val="90000"/>
            </a:lnSpc>
            <a:spcBef>
              <a:spcPct val="0"/>
            </a:spcBef>
            <a:spcAft>
              <a:spcPct val="35000"/>
            </a:spcAft>
            <a:buNone/>
          </a:pPr>
          <a:r>
            <a:rPr lang="de-DE" sz="1100" b="1" kern="1200" err="1"/>
            <a:t>Proven</a:t>
          </a:r>
          <a:r>
            <a:rPr lang="de-DE" sz="1100" b="1" kern="1200"/>
            <a:t> operational </a:t>
          </a:r>
          <a:r>
            <a:rPr lang="de-DE" sz="1100" b="1" kern="1200" err="1"/>
            <a:t>functio</a:t>
          </a:r>
          <a:r>
            <a:rPr lang="de-DE" sz="1100" b="1" kern="1200"/>
            <a:t>-</a:t>
          </a:r>
          <a:br>
            <a:rPr lang="de-DE" sz="1100" b="1" kern="1200"/>
          </a:br>
          <a:r>
            <a:rPr lang="de-DE" sz="1100" b="1" kern="1200" err="1"/>
            <a:t>nality</a:t>
          </a:r>
          <a:endParaRPr lang="de-DE" sz="1100" b="1" kern="1200"/>
        </a:p>
      </dsp:txBody>
      <dsp:txXfrm rot="-5400000">
        <a:off x="835583" y="1527512"/>
        <a:ext cx="910489" cy="1046538"/>
      </dsp:txXfrm>
    </dsp:sp>
    <dsp:sp modelId="{F1A6EBFD-A2AD-43BB-83DC-0BD91A701D3F}">
      <dsp:nvSpPr>
        <dsp:cNvPr id="0" name=""/>
        <dsp:cNvSpPr/>
      </dsp:nvSpPr>
      <dsp:spPr>
        <a:xfrm>
          <a:off x="339460" y="1594662"/>
          <a:ext cx="1642026" cy="912236"/>
        </a:xfrm>
        <a:prstGeom prst="rect">
          <a:avLst/>
        </a:prstGeom>
        <a:noFill/>
        <a:ln>
          <a:noFill/>
        </a:ln>
        <a:effectLst/>
      </dsp:spPr>
      <dsp:style>
        <a:lnRef idx="0">
          <a:scrgbClr r="0" g="0" b="0"/>
        </a:lnRef>
        <a:fillRef idx="0">
          <a:scrgbClr r="0" g="0" b="0"/>
        </a:fillRef>
        <a:effectRef idx="0">
          <a:scrgbClr r="0" g="0" b="0"/>
        </a:effectRef>
        <a:fontRef idx="minor"/>
      </dsp:style>
    </dsp:sp>
    <dsp:sp modelId="{82BEA704-0794-429F-B0B6-A2D2736FE9FA}">
      <dsp:nvSpPr>
        <dsp:cNvPr id="0" name=""/>
        <dsp:cNvSpPr/>
      </dsp:nvSpPr>
      <dsp:spPr>
        <a:xfrm rot="5400000">
          <a:off x="3365958" y="1389409"/>
          <a:ext cx="1520394" cy="1322743"/>
        </a:xfrm>
        <a:prstGeom prst="hexagon">
          <a:avLst>
            <a:gd name="adj" fmla="val 25000"/>
            <a:gd name="vf" fmla="val 115470"/>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b="1" kern="1200"/>
            <a:t>4.</a:t>
          </a:r>
        </a:p>
        <a:p>
          <a:pPr marL="0" lvl="0" indent="0" algn="ctr" defTabSz="533400">
            <a:lnSpc>
              <a:spcPct val="90000"/>
            </a:lnSpc>
            <a:spcBef>
              <a:spcPct val="0"/>
            </a:spcBef>
            <a:spcAft>
              <a:spcPct val="35000"/>
            </a:spcAft>
            <a:buNone/>
          </a:pPr>
          <a:r>
            <a:rPr lang="en-GB" sz="1200" b="1" kern="1200" noProof="0"/>
            <a:t>available adequate funding</a:t>
          </a:r>
        </a:p>
      </dsp:txBody>
      <dsp:txXfrm rot="-5400000">
        <a:off x="3670910" y="1527512"/>
        <a:ext cx="910489" cy="1046538"/>
      </dsp:txXfrm>
    </dsp:sp>
    <dsp:sp modelId="{59395852-4517-4BA4-A864-EB2A64964968}">
      <dsp:nvSpPr>
        <dsp:cNvPr id="0" name=""/>
        <dsp:cNvSpPr/>
      </dsp:nvSpPr>
      <dsp:spPr>
        <a:xfrm rot="5400000">
          <a:off x="2654413" y="2679920"/>
          <a:ext cx="1520394" cy="1322743"/>
        </a:xfrm>
        <a:prstGeom prst="hexagon">
          <a:avLst>
            <a:gd name="adj" fmla="val 25000"/>
            <a:gd name="vf" fmla="val 11547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a:t>6.</a:t>
          </a:r>
        </a:p>
        <a:p>
          <a:pPr marL="0" lvl="0" indent="0" algn="ctr" defTabSz="533400">
            <a:lnSpc>
              <a:spcPct val="90000"/>
            </a:lnSpc>
            <a:spcBef>
              <a:spcPct val="0"/>
            </a:spcBef>
            <a:spcAft>
              <a:spcPct val="35000"/>
            </a:spcAft>
            <a:buNone/>
          </a:pPr>
          <a:r>
            <a:rPr lang="de-DE" sz="1200" b="1" kern="1200"/>
            <a:t>Sound </a:t>
          </a:r>
          <a:r>
            <a:rPr lang="de-DE" sz="1200" b="1" kern="1200" err="1"/>
            <a:t>migration</a:t>
          </a:r>
          <a:r>
            <a:rPr lang="de-DE" sz="1200" b="1" kern="1200"/>
            <a:t> plan</a:t>
          </a:r>
        </a:p>
      </dsp:txBody>
      <dsp:txXfrm rot="-5400000">
        <a:off x="2959365" y="2818023"/>
        <a:ext cx="910489" cy="1046538"/>
      </dsp:txXfrm>
    </dsp:sp>
    <dsp:sp modelId="{E4122239-556D-4F31-8F68-A3180DE81795}">
      <dsp:nvSpPr>
        <dsp:cNvPr id="0" name=""/>
        <dsp:cNvSpPr/>
      </dsp:nvSpPr>
      <dsp:spPr>
        <a:xfrm>
          <a:off x="4116121" y="2885173"/>
          <a:ext cx="1696760" cy="912236"/>
        </a:xfrm>
        <a:prstGeom prst="rect">
          <a:avLst/>
        </a:prstGeom>
        <a:noFill/>
        <a:ln>
          <a:noFill/>
        </a:ln>
        <a:effectLst/>
      </dsp:spPr>
      <dsp:style>
        <a:lnRef idx="0">
          <a:scrgbClr r="0" g="0" b="0"/>
        </a:lnRef>
        <a:fillRef idx="0">
          <a:scrgbClr r="0" g="0" b="0"/>
        </a:fillRef>
        <a:effectRef idx="0">
          <a:scrgbClr r="0" g="0" b="0"/>
        </a:effectRef>
        <a:fontRef idx="minor"/>
      </dsp:style>
    </dsp:sp>
    <dsp:sp modelId="{3C2B7B7F-6BBD-4212-ABC1-6E7E6CF4A2E5}">
      <dsp:nvSpPr>
        <dsp:cNvPr id="0" name=""/>
        <dsp:cNvSpPr/>
      </dsp:nvSpPr>
      <dsp:spPr>
        <a:xfrm rot="5400000">
          <a:off x="1225850" y="2679920"/>
          <a:ext cx="1520394" cy="1322743"/>
        </a:xfrm>
        <a:prstGeom prst="hexagon">
          <a:avLst>
            <a:gd name="adj" fmla="val 25000"/>
            <a:gd name="vf" fmla="val 115470"/>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de-DE" sz="1100" b="1" kern="1200"/>
            <a:t>5.</a:t>
          </a:r>
        </a:p>
        <a:p>
          <a:pPr marL="0" lvl="0" indent="0" algn="ctr" defTabSz="488950">
            <a:lnSpc>
              <a:spcPct val="90000"/>
            </a:lnSpc>
            <a:spcBef>
              <a:spcPct val="0"/>
            </a:spcBef>
            <a:spcAft>
              <a:spcPct val="35000"/>
            </a:spcAft>
            <a:buNone/>
          </a:pPr>
          <a:r>
            <a:rPr lang="de-DE" sz="1100" b="1" kern="1200"/>
            <a:t>Simple </a:t>
          </a:r>
          <a:r>
            <a:rPr lang="de-DE" sz="1100" b="1" kern="1200" err="1"/>
            <a:t>authorisation</a:t>
          </a:r>
          <a:endParaRPr lang="de-DE" sz="1100" b="1" kern="1200"/>
        </a:p>
      </dsp:txBody>
      <dsp:txXfrm rot="-5400000">
        <a:off x="1530802" y="2818023"/>
        <a:ext cx="910489" cy="1046538"/>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5558" cy="502835"/>
          </a:xfrm>
          <a:prstGeom prst="rect">
            <a:avLst/>
          </a:prstGeom>
        </p:spPr>
        <p:txBody>
          <a:bodyPr vert="horz" lIns="96634" tIns="48317" rIns="96634" bIns="48317" rtlCol="0"/>
          <a:lstStyle>
            <a:lvl1pPr algn="l">
              <a:defRPr sz="1300"/>
            </a:lvl1pPr>
          </a:lstStyle>
          <a:p>
            <a:endParaRPr lang="en-US"/>
          </a:p>
        </p:txBody>
      </p:sp>
      <p:sp>
        <p:nvSpPr>
          <p:cNvPr id="3" name="Datumsplatzhalter 2"/>
          <p:cNvSpPr>
            <a:spLocks noGrp="1"/>
          </p:cNvSpPr>
          <p:nvPr>
            <p:ph type="dt" idx="1"/>
          </p:nvPr>
        </p:nvSpPr>
        <p:spPr>
          <a:xfrm>
            <a:off x="3902597" y="0"/>
            <a:ext cx="2985558" cy="502835"/>
          </a:xfrm>
          <a:prstGeom prst="rect">
            <a:avLst/>
          </a:prstGeom>
        </p:spPr>
        <p:txBody>
          <a:bodyPr vert="horz" lIns="96634" tIns="48317" rIns="96634" bIns="48317" rtlCol="0"/>
          <a:lstStyle>
            <a:lvl1pPr algn="r">
              <a:defRPr sz="1300"/>
            </a:lvl1pPr>
          </a:lstStyle>
          <a:p>
            <a:fld id="{07A3EF4F-6D2B-4159-83BA-40146ED61A22}" type="datetimeFigureOut">
              <a:rPr lang="en-US" smtClean="0"/>
              <a:t>4/22/2024</a:t>
            </a:fld>
            <a:endParaRPr lang="en-US"/>
          </a:p>
        </p:txBody>
      </p:sp>
      <p:sp>
        <p:nvSpPr>
          <p:cNvPr id="4" name="Folienbildplatzhalter 3"/>
          <p:cNvSpPr>
            <a:spLocks noGrp="1" noRot="1" noChangeAspect="1"/>
          </p:cNvSpPr>
          <p:nvPr>
            <p:ph type="sldImg" idx="2"/>
          </p:nvPr>
        </p:nvSpPr>
        <p:spPr>
          <a:xfrm>
            <a:off x="438150" y="1252538"/>
            <a:ext cx="6013450" cy="3382962"/>
          </a:xfrm>
          <a:prstGeom prst="rect">
            <a:avLst/>
          </a:prstGeom>
          <a:noFill/>
          <a:ln w="12700">
            <a:solidFill>
              <a:prstClr val="black"/>
            </a:solidFill>
          </a:ln>
        </p:spPr>
        <p:txBody>
          <a:bodyPr vert="horz" lIns="96634" tIns="48317" rIns="96634" bIns="48317" rtlCol="0" anchor="ctr"/>
          <a:lstStyle/>
          <a:p>
            <a:endParaRPr lang="en-US"/>
          </a:p>
        </p:txBody>
      </p:sp>
      <p:sp>
        <p:nvSpPr>
          <p:cNvPr id="5" name="Notizenplatzhalter 4"/>
          <p:cNvSpPr>
            <a:spLocks noGrp="1"/>
          </p:cNvSpPr>
          <p:nvPr>
            <p:ph type="body" sz="quarter" idx="3"/>
          </p:nvPr>
        </p:nvSpPr>
        <p:spPr>
          <a:xfrm>
            <a:off x="688975" y="4823034"/>
            <a:ext cx="5511800" cy="3946118"/>
          </a:xfrm>
          <a:prstGeom prst="rect">
            <a:avLst/>
          </a:prstGeom>
        </p:spPr>
        <p:txBody>
          <a:bodyPr vert="horz" lIns="96634" tIns="48317" rIns="96634" bIns="48317"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519055"/>
            <a:ext cx="2985558" cy="502834"/>
          </a:xfrm>
          <a:prstGeom prst="rect">
            <a:avLst/>
          </a:prstGeom>
        </p:spPr>
        <p:txBody>
          <a:bodyPr vert="horz" lIns="96634" tIns="48317" rIns="96634" bIns="48317" rtlCol="0" anchor="b"/>
          <a:lstStyle>
            <a:lvl1pPr algn="l">
              <a:defRPr sz="1300"/>
            </a:lvl1pPr>
          </a:lstStyle>
          <a:p>
            <a:endParaRPr lang="en-US"/>
          </a:p>
        </p:txBody>
      </p:sp>
      <p:sp>
        <p:nvSpPr>
          <p:cNvPr id="7" name="Foliennummernplatzhalter 6"/>
          <p:cNvSpPr>
            <a:spLocks noGrp="1"/>
          </p:cNvSpPr>
          <p:nvPr>
            <p:ph type="sldNum" sz="quarter" idx="5"/>
          </p:nvPr>
        </p:nvSpPr>
        <p:spPr>
          <a:xfrm>
            <a:off x="3902597" y="9519055"/>
            <a:ext cx="2985558" cy="502834"/>
          </a:xfrm>
          <a:prstGeom prst="rect">
            <a:avLst/>
          </a:prstGeom>
        </p:spPr>
        <p:txBody>
          <a:bodyPr vert="horz" lIns="96634" tIns="48317" rIns="96634" bIns="48317" rtlCol="0" anchor="b"/>
          <a:lstStyle>
            <a:lvl1pPr algn="r">
              <a:defRPr sz="1300"/>
            </a:lvl1pPr>
          </a:lstStyle>
          <a:p>
            <a:fld id="{2287AC44-C2A2-4492-9AF2-53B85B10DE75}" type="slidenum">
              <a:rPr lang="en-US" smtClean="0"/>
              <a:t>‹#›</a:t>
            </a:fld>
            <a:endParaRPr lang="en-US"/>
          </a:p>
        </p:txBody>
      </p:sp>
    </p:spTree>
    <p:extLst>
      <p:ext uri="{BB962C8B-B14F-4D97-AF65-F5344CB8AC3E}">
        <p14:creationId xmlns:p14="http://schemas.microsoft.com/office/powerpoint/2010/main" val="2677314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E88D49-FE70-4832-A545-C836B885AFC1}"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1408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91CD1-8D69-4144-8345-29CB24AF38C5}"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9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4AA783F-8A9B-40F7-8095-404F2425A7A5}" type="slidenum">
              <a:rPr lang="en-GB" smtClean="0"/>
              <a:t>9</a:t>
            </a:fld>
            <a:endParaRPr lang="en-GB"/>
          </a:p>
        </p:txBody>
      </p:sp>
    </p:spTree>
    <p:extLst>
      <p:ext uri="{BB962C8B-B14F-4D97-AF65-F5344CB8AC3E}">
        <p14:creationId xmlns:p14="http://schemas.microsoft.com/office/powerpoint/2010/main" val="4029476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CA91CD1-8D69-4144-8345-29CB24AF38C5}" type="slidenum">
              <a:rPr lang="en-GB" smtClean="0"/>
              <a:t>10</a:t>
            </a:fld>
            <a:endParaRPr lang="en-GB"/>
          </a:p>
        </p:txBody>
      </p:sp>
    </p:spTree>
    <p:extLst>
      <p:ext uri="{BB962C8B-B14F-4D97-AF65-F5344CB8AC3E}">
        <p14:creationId xmlns:p14="http://schemas.microsoft.com/office/powerpoint/2010/main" val="1262022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ABDCADA-4FBD-45E0-91FB-D0674DC3556F}" type="slidenum">
              <a:rPr lang="en-US" smtClean="0"/>
              <a:t>17</a:t>
            </a:fld>
            <a:endParaRPr lang="en-US"/>
          </a:p>
        </p:txBody>
      </p:sp>
    </p:spTree>
    <p:extLst>
      <p:ext uri="{BB962C8B-B14F-4D97-AF65-F5344CB8AC3E}">
        <p14:creationId xmlns:p14="http://schemas.microsoft.com/office/powerpoint/2010/main" val="459970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ABDCADA-4FBD-45E0-91FB-D0674DC3556F}" type="slidenum">
              <a:rPr lang="en-US" smtClean="0"/>
              <a:t>18</a:t>
            </a:fld>
            <a:endParaRPr lang="en-US"/>
          </a:p>
        </p:txBody>
      </p:sp>
    </p:spTree>
    <p:extLst>
      <p:ext uri="{BB962C8B-B14F-4D97-AF65-F5344CB8AC3E}">
        <p14:creationId xmlns:p14="http://schemas.microsoft.com/office/powerpoint/2010/main" val="4250001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ABDCADA-4FBD-45E0-91FB-D0674DC3556F}" type="slidenum">
              <a:rPr lang="en-US" smtClean="0"/>
              <a:t>19</a:t>
            </a:fld>
            <a:endParaRPr lang="en-US"/>
          </a:p>
        </p:txBody>
      </p:sp>
    </p:spTree>
    <p:extLst>
      <p:ext uri="{BB962C8B-B14F-4D97-AF65-F5344CB8AC3E}">
        <p14:creationId xmlns:p14="http://schemas.microsoft.com/office/powerpoint/2010/main" val="3691574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87AC44-C2A2-4492-9AF2-53B85B10DE75}"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8087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D0EB24-2F7F-C0FA-CBA6-01939D1F46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C6C6A1-1166-7F31-609D-C0BA5F44DB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CD8D0A-41D4-FA7A-FCF4-C80435E840B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3A1270F-916C-5448-7F73-41A57ACD0A10}"/>
              </a:ext>
            </a:extLst>
          </p:cNvPr>
          <p:cNvSpPr>
            <a:spLocks noGrp="1"/>
          </p:cNvSpPr>
          <p:nvPr>
            <p:ph type="sldNum" sz="quarter" idx="5"/>
          </p:nvPr>
        </p:nvSpPr>
        <p:spPr/>
        <p:txBody>
          <a:bodyPr/>
          <a:lstStyle/>
          <a:p>
            <a:fld id="{A4AA783F-8A9B-40F7-8095-404F2425A7A5}" type="slidenum">
              <a:rPr lang="en-GB" smtClean="0"/>
              <a:t>31</a:t>
            </a:fld>
            <a:endParaRPr lang="en-GB"/>
          </a:p>
        </p:txBody>
      </p:sp>
    </p:spTree>
    <p:extLst>
      <p:ext uri="{BB962C8B-B14F-4D97-AF65-F5344CB8AC3E}">
        <p14:creationId xmlns:p14="http://schemas.microsoft.com/office/powerpoint/2010/main" val="21989090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4.svg"/><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6.sv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hyperlink" Target="https://eur06.safelinks.protection.outlook.com/?url=http%3A%2F%2Fwww.rail-research.europa.eu%2F&amp;data=05%7C01%7C%7C6a04a5d6bd9d4e4fb10808da29def965%7Cbcfe75f290a54d168c623261618820aa%7C0%7C0%7C637868334888549089%7CUnknown%7CTWFpbGZsb3d8eyJWIjoiMC4wLjAwMDAiLCJQIjoiV2luMzIiLCJBTiI6Ik1haWwiLCJXVCI6Mn0%3D%7C3000%7C%7C%7C&amp;sdata=wiFzMOdCilMalNMXLNwQ6ooBa6A7jONQnCtzOGaZK8g%3D&amp;reserved=0" TargetMode="External"/><Relationship Id="rId9" Type="http://schemas.openxmlformats.org/officeDocument/2006/relationships/image" Target="../media/image19.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latin typeface="Calibri" panose="020F0502020204030204" pitchFamily="34" charset="0"/>
                <a:ea typeface="Calibri" panose="020F0502020204030204" pitchFamily="34" charset="0"/>
                <a:cs typeface="Calibri" panose="020F0502020204030204" pitchFamily="34" charset="0"/>
              </a:defRPr>
            </a:lvl1pPr>
            <a:lvl3pPr marL="914400" indent="0">
              <a:buNone/>
              <a:defRPr/>
            </a:lvl3pPr>
          </a:lstStyle>
          <a:p>
            <a:pPr lvl="0"/>
            <a:r>
              <a:rPr lang="fr-FR"/>
              <a:t>SUR TITRE</a:t>
            </a:r>
            <a:endParaRPr lang="fr-BE"/>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atin typeface="Calibri" panose="020F0502020204030204" pitchFamily="34" charset="0"/>
                <a:ea typeface="Calibri" panose="020F0502020204030204" pitchFamily="34" charset="0"/>
                <a:cs typeface="Calibri" panose="020F0502020204030204" pitchFamily="34" charset="0"/>
              </a:defRPr>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atin typeface="Calibri" panose="020F0502020204030204" pitchFamily="34" charset="0"/>
                <a:ea typeface="Calibri" panose="020F0502020204030204" pitchFamily="34" charset="0"/>
                <a:cs typeface="Calibri" panose="020F0502020204030204" pitchFamily="34" charset="0"/>
              </a:defRPr>
            </a:lvl1pPr>
            <a:lvl2pPr marL="457200" indent="0">
              <a:buNone/>
              <a:defRPr/>
            </a:lvl2pPr>
          </a:lstStyle>
          <a:p>
            <a:pPr lvl="0"/>
            <a:r>
              <a:rPr lang="fr-FR"/>
              <a:t>Cliquez pour modifier les styles du texte du masque</a:t>
            </a:r>
          </a:p>
        </p:txBody>
      </p:sp>
      <p:sp>
        <p:nvSpPr>
          <p:cNvPr id="3" name="Slide Number Placeholder 1">
            <a:extLst>
              <a:ext uri="{FF2B5EF4-FFF2-40B4-BE49-F238E27FC236}">
                <a16:creationId xmlns:a16="http://schemas.microsoft.com/office/drawing/2014/main" id="{D56F2CB4-41F7-C9B4-3F78-552E6B937B30}"/>
              </a:ext>
            </a:extLst>
          </p:cNvPr>
          <p:cNvSpPr>
            <a:spLocks noGrp="1"/>
          </p:cNvSpPr>
          <p:nvPr>
            <p:ph type="sldNum" sz="quarter" idx="14"/>
          </p:nvPr>
        </p:nvSpPr>
        <p:spPr>
          <a:xfrm>
            <a:off x="8610600" y="6356350"/>
            <a:ext cx="2743200" cy="365125"/>
          </a:xfrm>
          <a:prstGeom prst="rect">
            <a:avLst/>
          </a:prstGeom>
        </p:spPr>
        <p:txBody>
          <a:bodyPr/>
          <a:lstStyle>
            <a:lvl1pPr algn="r">
              <a:defRPr sz="1000">
                <a:solidFill>
                  <a:schemeClr val="bg1">
                    <a:lumMod val="65000"/>
                  </a:schemeClr>
                </a:solidFill>
              </a:defRPr>
            </a:lvl1pPr>
          </a:lstStyle>
          <a:p>
            <a:fld id="{6ABB0DC6-0311-9D4C-8333-A8862636E7AD}" type="slidenum">
              <a:rPr lang="en-GB" smtClean="0"/>
              <a:pPr/>
              <a:t>‹#›</a:t>
            </a:fld>
            <a:endParaRPr lang="en-GB"/>
          </a:p>
        </p:txBody>
      </p:sp>
      <p:sp>
        <p:nvSpPr>
          <p:cNvPr id="4" name="Titelplatzhalter 4">
            <a:extLst>
              <a:ext uri="{FF2B5EF4-FFF2-40B4-BE49-F238E27FC236}">
                <a16:creationId xmlns:a16="http://schemas.microsoft.com/office/drawing/2014/main" id="{E215E7E6-4625-4FEB-9E23-5316E22D17DC}"/>
              </a:ext>
            </a:extLst>
          </p:cNvPr>
          <p:cNvSpPr>
            <a:spLocks noGrp="1"/>
          </p:cNvSpPr>
          <p:nvPr>
            <p:ph type="title"/>
          </p:nvPr>
        </p:nvSpPr>
        <p:spPr>
          <a:xfrm>
            <a:off x="1785464" y="177679"/>
            <a:ext cx="9568336" cy="684717"/>
          </a:xfrm>
          <a:prstGeom prst="rect">
            <a:avLst/>
          </a:prstGeom>
        </p:spPr>
        <p:txBody>
          <a:bodyPr vert="horz" lIns="91440" tIns="45720" rIns="91440" bIns="45720" rtlCol="0" anchor="ctr">
            <a:normAutofit/>
          </a:bodyPr>
          <a:lstStyle>
            <a:lvl1pPr>
              <a:defRPr>
                <a:latin typeface="Calibri" panose="020F0502020204030204" pitchFamily="34" charset="0"/>
                <a:ea typeface="Calibri" panose="020F0502020204030204" pitchFamily="34" charset="0"/>
                <a:cs typeface="Calibri" panose="020F0502020204030204" pitchFamily="34" charset="0"/>
              </a:defRPr>
            </a:lvl1pPr>
          </a:lstStyle>
          <a:p>
            <a:r>
              <a:rPr lang="de-DE"/>
              <a:t>Mastertitelformat bearbeiten</a:t>
            </a:r>
            <a:endParaRPr lang="en-US"/>
          </a:p>
        </p:txBody>
      </p:sp>
    </p:spTree>
    <p:extLst>
      <p:ext uri="{BB962C8B-B14F-4D97-AF65-F5344CB8AC3E}">
        <p14:creationId xmlns:p14="http://schemas.microsoft.com/office/powerpoint/2010/main" val="1655065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ain template_Titl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07FE89-08DC-3542-B751-1572C5BAEAE0}"/>
              </a:ext>
            </a:extLst>
          </p:cNvPr>
          <p:cNvSpPr>
            <a:spLocks noGrp="1"/>
          </p:cNvSpPr>
          <p:nvPr>
            <p:ph type="ctrTitle" hasCustomPrompt="1"/>
          </p:nvPr>
        </p:nvSpPr>
        <p:spPr>
          <a:xfrm>
            <a:off x="1524000" y="1122363"/>
            <a:ext cx="9144000" cy="2387600"/>
          </a:xfrm>
        </p:spPr>
        <p:txBody>
          <a:bodyPr anchor="b">
            <a:normAutofit/>
          </a:bodyPr>
          <a:lstStyle>
            <a:lvl1pPr algn="ctr">
              <a:defRPr sz="5400">
                <a:solidFill>
                  <a:srgbClr val="91CB60"/>
                </a:solidFill>
              </a:defRPr>
            </a:lvl1pPr>
          </a:lstStyle>
          <a:p>
            <a:r>
              <a:rPr lang="fr-FR"/>
              <a:t>LOREM IPSUM</a:t>
            </a:r>
            <a:endParaRPr lang="en-GB"/>
          </a:p>
        </p:txBody>
      </p:sp>
      <p:sp>
        <p:nvSpPr>
          <p:cNvPr id="3" name="Sous-titre 2">
            <a:extLst>
              <a:ext uri="{FF2B5EF4-FFF2-40B4-BE49-F238E27FC236}">
                <a16:creationId xmlns:a16="http://schemas.microsoft.com/office/drawing/2014/main" id="{06FD7AF3-89C0-3A44-A75E-835B3872B44B}"/>
              </a:ext>
            </a:extLst>
          </p:cNvPr>
          <p:cNvSpPr>
            <a:spLocks noGrp="1"/>
          </p:cNvSpPr>
          <p:nvPr>
            <p:ph type="subTitle" idx="1" hasCustomPrompt="1"/>
          </p:nvPr>
        </p:nvSpPr>
        <p:spPr>
          <a:xfrm>
            <a:off x="1524000" y="3602038"/>
            <a:ext cx="9144000" cy="47783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0B46ED08-B34E-1D44-85CF-972605D67EDB}"/>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27EF1F25-6BB9-AF45-86D2-8DBA6E1A37BE}"/>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D1B62F-8B1E-8A42-AB23-378B508495C7}"/>
              </a:ext>
            </a:extLst>
          </p:cNvPr>
          <p:cNvSpPr>
            <a:spLocks noGrp="1"/>
          </p:cNvSpPr>
          <p:nvPr>
            <p:ph type="sldNum" sz="quarter" idx="12"/>
          </p:nvPr>
        </p:nvSpPr>
        <p:spPr/>
        <p:txBody>
          <a:bodyPr/>
          <a:lstStyle/>
          <a:p>
            <a:fld id="{6ABB0DC6-0311-9D4C-8333-A8862636E7AD}" type="slidenum">
              <a:rPr lang="en-GB" smtClean="0"/>
              <a:t>‹#›</a:t>
            </a:fld>
            <a:endParaRPr lang="en-GB"/>
          </a:p>
        </p:txBody>
      </p:sp>
      <p:sp>
        <p:nvSpPr>
          <p:cNvPr id="9" name="Espace réservé du texte 8">
            <a:extLst>
              <a:ext uri="{FF2B5EF4-FFF2-40B4-BE49-F238E27FC236}">
                <a16:creationId xmlns:a16="http://schemas.microsoft.com/office/drawing/2014/main" id="{CD2B3C72-A402-BA4F-A6B1-4EAAC9EB43CE}"/>
              </a:ext>
            </a:extLst>
          </p:cNvPr>
          <p:cNvSpPr>
            <a:spLocks noGrp="1"/>
          </p:cNvSpPr>
          <p:nvPr>
            <p:ph type="body" sz="quarter" idx="13" hasCustomPrompt="1"/>
          </p:nvPr>
        </p:nvSpPr>
        <p:spPr>
          <a:xfrm>
            <a:off x="1524000" y="4211638"/>
            <a:ext cx="9144000" cy="565150"/>
          </a:xfrm>
        </p:spPr>
        <p:txBody>
          <a:bodyPr anchor="ctr"/>
          <a:lstStyle>
            <a:lvl1pPr marL="0" indent="0" algn="ctr">
              <a:buNone/>
              <a:defRPr sz="2000"/>
            </a:lvl1pPr>
            <a:lvl2pPr>
              <a:defRPr sz="2000"/>
            </a:lvl2pPr>
          </a:lstStyle>
          <a:p>
            <a:pPr lvl="0"/>
            <a:r>
              <a:rPr lang="fr-FR" err="1"/>
              <a:t>Lorem</a:t>
            </a:r>
            <a:r>
              <a:rPr lang="fr-FR"/>
              <a:t> </a:t>
            </a:r>
            <a:r>
              <a:rPr lang="fr-FR" err="1"/>
              <a:t>ipsum</a:t>
            </a:r>
            <a:r>
              <a:rPr lang="fr-FR"/>
              <a:t> </a:t>
            </a:r>
            <a:endParaRPr lang="en-GB"/>
          </a:p>
        </p:txBody>
      </p:sp>
    </p:spTree>
    <p:extLst>
      <p:ext uri="{BB962C8B-B14F-4D97-AF65-F5344CB8AC3E}">
        <p14:creationId xmlns:p14="http://schemas.microsoft.com/office/powerpoint/2010/main" val="4971304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Main template_Title&amp;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28618D-6FBD-AD4F-8D43-E09890CBEF3D}"/>
              </a:ext>
            </a:extLst>
          </p:cNvPr>
          <p:cNvSpPr>
            <a:spLocks noGrp="1"/>
          </p:cNvSpPr>
          <p:nvPr>
            <p:ph type="title" hasCustomPrompt="1"/>
          </p:nvPr>
        </p:nvSpPr>
        <p:spPr/>
        <p:txBody>
          <a:bodyPr/>
          <a:lstStyle/>
          <a:p>
            <a:r>
              <a:rPr lang="fr-FR"/>
              <a:t>LOREM IPSUM</a:t>
            </a:r>
            <a:endParaRPr lang="en-GB"/>
          </a:p>
        </p:txBody>
      </p:sp>
      <p:sp>
        <p:nvSpPr>
          <p:cNvPr id="3" name="Espace réservé du contenu 2">
            <a:extLst>
              <a:ext uri="{FF2B5EF4-FFF2-40B4-BE49-F238E27FC236}">
                <a16:creationId xmlns:a16="http://schemas.microsoft.com/office/drawing/2014/main" id="{EBE44464-339C-4640-A68F-AD5FAC0DB85D}"/>
              </a:ext>
            </a:extLst>
          </p:cNvPr>
          <p:cNvSpPr>
            <a:spLocks noGrp="1"/>
          </p:cNvSpPr>
          <p:nvPr>
            <p:ph idx="1" hasCustomPrompt="1"/>
          </p:nvPr>
        </p:nvSpPr>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278A20ED-7568-AC40-8952-FE2ACB258D44}"/>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C4500258-EA4E-8244-8D0A-94550C2F7CA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F6F189-3884-AB4B-A72D-2202C1429E1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2230326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Main template_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CE7CD7-DB5D-6A40-ACD5-C35A21F610A8}"/>
              </a:ext>
            </a:extLst>
          </p:cNvPr>
          <p:cNvSpPr>
            <a:spLocks noGrp="1"/>
          </p:cNvSpPr>
          <p:nvPr>
            <p:ph type="title" hasCustomPrompt="1"/>
          </p:nvPr>
        </p:nvSpPr>
        <p:spPr>
          <a:xfrm>
            <a:off x="831850" y="1709738"/>
            <a:ext cx="10515600" cy="2852737"/>
          </a:xfrm>
        </p:spPr>
        <p:txBody>
          <a:bodyPr anchor="b"/>
          <a:lstStyle>
            <a:lvl1pPr>
              <a:defRPr sz="6000"/>
            </a:lvl1pPr>
          </a:lstStyle>
          <a:p>
            <a:r>
              <a:rPr lang="fr-FR" err="1"/>
              <a:t>Lorem</a:t>
            </a:r>
            <a:r>
              <a:rPr lang="fr-FR"/>
              <a:t> </a:t>
            </a:r>
            <a:r>
              <a:rPr lang="fr-FR" err="1"/>
              <a:t>ipsum</a:t>
            </a:r>
            <a:endParaRPr lang="en-GB"/>
          </a:p>
        </p:txBody>
      </p:sp>
      <p:sp>
        <p:nvSpPr>
          <p:cNvPr id="3" name="Espace réservé du texte 2">
            <a:extLst>
              <a:ext uri="{FF2B5EF4-FFF2-40B4-BE49-F238E27FC236}">
                <a16:creationId xmlns:a16="http://schemas.microsoft.com/office/drawing/2014/main" id="{73D52C39-BB30-6740-9299-C9236312A9D6}"/>
              </a:ext>
            </a:extLst>
          </p:cNvPr>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err="1"/>
              <a:t>Lorem</a:t>
            </a:r>
            <a:r>
              <a:rPr lang="fr-FR"/>
              <a:t> </a:t>
            </a:r>
            <a:r>
              <a:rPr lang="fr-FR" err="1"/>
              <a:t>ipsum</a:t>
            </a:r>
            <a:endParaRPr lang="fr-FR"/>
          </a:p>
        </p:txBody>
      </p:sp>
      <p:sp>
        <p:nvSpPr>
          <p:cNvPr id="4" name="Espace réservé de la date 3">
            <a:extLst>
              <a:ext uri="{FF2B5EF4-FFF2-40B4-BE49-F238E27FC236}">
                <a16:creationId xmlns:a16="http://schemas.microsoft.com/office/drawing/2014/main" id="{33301199-6207-5A40-BB46-33D9E5B4C555}"/>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4D21923F-2440-D044-BBE2-B2CA12025E09}"/>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D989BA16-8F1A-C34E-9C84-B9AF9084552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3198850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Main template_Double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20E601-BA9B-EF45-9E00-FFD77A65C02C}"/>
              </a:ext>
            </a:extLst>
          </p:cNvPr>
          <p:cNvSpPr>
            <a:spLocks noGrp="1"/>
          </p:cNvSpPr>
          <p:nvPr>
            <p:ph type="title" hasCustomPrompt="1"/>
          </p:nvPr>
        </p:nvSpPr>
        <p:spPr/>
        <p:txBody>
          <a:bodyPr/>
          <a:lstStyle/>
          <a:p>
            <a:r>
              <a:rPr lang="fr-FR" err="1"/>
              <a:t>Lorem</a:t>
            </a:r>
            <a:r>
              <a:rPr lang="fr-FR"/>
              <a:t> </a:t>
            </a:r>
            <a:r>
              <a:rPr lang="fr-FR" err="1"/>
              <a:t>ipsum</a:t>
            </a:r>
            <a:r>
              <a:rPr lang="fr-FR"/>
              <a:t> </a:t>
            </a:r>
            <a:endParaRPr lang="en-GB"/>
          </a:p>
        </p:txBody>
      </p:sp>
      <p:sp>
        <p:nvSpPr>
          <p:cNvPr id="3" name="Espace réservé du contenu 2">
            <a:extLst>
              <a:ext uri="{FF2B5EF4-FFF2-40B4-BE49-F238E27FC236}">
                <a16:creationId xmlns:a16="http://schemas.microsoft.com/office/drawing/2014/main" id="{86296D85-979F-BB45-9B07-BA1E654D0CD3}"/>
              </a:ext>
            </a:extLst>
          </p:cNvPr>
          <p:cNvSpPr>
            <a:spLocks noGrp="1"/>
          </p:cNvSpPr>
          <p:nvPr>
            <p:ph sz="half" idx="1" hasCustomPrompt="1"/>
          </p:nvPr>
        </p:nvSpPr>
        <p:spPr>
          <a:xfrm>
            <a:off x="838200" y="1825625"/>
            <a:ext cx="5181600" cy="435133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u contenu 3">
            <a:extLst>
              <a:ext uri="{FF2B5EF4-FFF2-40B4-BE49-F238E27FC236}">
                <a16:creationId xmlns:a16="http://schemas.microsoft.com/office/drawing/2014/main" id="{B5BF0CB8-B63B-414F-BB1E-9EB769BC5625}"/>
              </a:ext>
            </a:extLst>
          </p:cNvPr>
          <p:cNvSpPr>
            <a:spLocks noGrp="1"/>
          </p:cNvSpPr>
          <p:nvPr>
            <p:ph sz="half" idx="2" hasCustomPrompt="1"/>
          </p:nvPr>
        </p:nvSpPr>
        <p:spPr>
          <a:xfrm>
            <a:off x="6172200" y="1825625"/>
            <a:ext cx="5181600" cy="435133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5" name="Espace réservé de la date 4">
            <a:extLst>
              <a:ext uri="{FF2B5EF4-FFF2-40B4-BE49-F238E27FC236}">
                <a16:creationId xmlns:a16="http://schemas.microsoft.com/office/drawing/2014/main" id="{D3E0B143-3821-DF40-AEEB-D8F90BF30B28}"/>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6" name="Espace réservé du pied de page 5">
            <a:extLst>
              <a:ext uri="{FF2B5EF4-FFF2-40B4-BE49-F238E27FC236}">
                <a16:creationId xmlns:a16="http://schemas.microsoft.com/office/drawing/2014/main" id="{93C18C91-4470-4D49-BB15-B7B8ABD9FD02}"/>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C04BF901-F9CD-E64E-9DE8-D5EA89788248}"/>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7138561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Main template_Compar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1C9F66-6A3A-5F49-B1FF-8E71DC531091}"/>
              </a:ext>
            </a:extLst>
          </p:cNvPr>
          <p:cNvSpPr>
            <a:spLocks noGrp="1"/>
          </p:cNvSpPr>
          <p:nvPr>
            <p:ph type="title" hasCustomPrompt="1"/>
          </p:nvPr>
        </p:nvSpPr>
        <p:spPr>
          <a:xfrm>
            <a:off x="839788" y="365125"/>
            <a:ext cx="10515600" cy="1325563"/>
          </a:xfrm>
        </p:spPr>
        <p:txBody>
          <a:bodyPr/>
          <a:lstStyle/>
          <a:p>
            <a:r>
              <a:rPr lang="fr-FR" err="1"/>
              <a:t>Lorem</a:t>
            </a:r>
            <a:r>
              <a:rPr lang="fr-FR"/>
              <a:t> </a:t>
            </a:r>
            <a:r>
              <a:rPr lang="fr-FR" err="1"/>
              <a:t>ipsum</a:t>
            </a:r>
            <a:endParaRPr lang="en-GB"/>
          </a:p>
        </p:txBody>
      </p:sp>
      <p:sp>
        <p:nvSpPr>
          <p:cNvPr id="3" name="Espace réservé du texte 2">
            <a:extLst>
              <a:ext uri="{FF2B5EF4-FFF2-40B4-BE49-F238E27FC236}">
                <a16:creationId xmlns:a16="http://schemas.microsoft.com/office/drawing/2014/main" id="{F53C897B-2D16-214E-9BDE-F8ABFFEB40F6}"/>
              </a:ext>
            </a:extLst>
          </p:cNvPr>
          <p:cNvSpPr>
            <a:spLocks noGrp="1"/>
          </p:cNvSpPr>
          <p:nvPr>
            <p:ph type="body" idx="1" hasCustomPrompt="1"/>
          </p:nvPr>
        </p:nvSpPr>
        <p:spPr>
          <a:xfrm>
            <a:off x="839788" y="1681163"/>
            <a:ext cx="5157787"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err="1"/>
              <a:t>Lorem</a:t>
            </a:r>
            <a:r>
              <a:rPr lang="fr-FR"/>
              <a:t> </a:t>
            </a:r>
            <a:r>
              <a:rPr lang="fr-FR" err="1"/>
              <a:t>ipsum</a:t>
            </a:r>
            <a:endParaRPr lang="fr-FR"/>
          </a:p>
        </p:txBody>
      </p:sp>
      <p:sp>
        <p:nvSpPr>
          <p:cNvPr id="4" name="Espace réservé du contenu 3">
            <a:extLst>
              <a:ext uri="{FF2B5EF4-FFF2-40B4-BE49-F238E27FC236}">
                <a16:creationId xmlns:a16="http://schemas.microsoft.com/office/drawing/2014/main" id="{BDE023F1-3872-C248-8717-FAC096DE1C2B}"/>
              </a:ext>
            </a:extLst>
          </p:cNvPr>
          <p:cNvSpPr>
            <a:spLocks noGrp="1"/>
          </p:cNvSpPr>
          <p:nvPr>
            <p:ph sz="half" idx="2" hasCustomPrompt="1"/>
          </p:nvPr>
        </p:nvSpPr>
        <p:spPr>
          <a:xfrm>
            <a:off x="839788" y="2505075"/>
            <a:ext cx="5157787" cy="368458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5" name="Espace réservé du texte 4">
            <a:extLst>
              <a:ext uri="{FF2B5EF4-FFF2-40B4-BE49-F238E27FC236}">
                <a16:creationId xmlns:a16="http://schemas.microsoft.com/office/drawing/2014/main" id="{76801364-1D24-D745-9044-9A1AA3987D0F}"/>
              </a:ext>
            </a:extLst>
          </p:cNvPr>
          <p:cNvSpPr>
            <a:spLocks noGrp="1"/>
          </p:cNvSpPr>
          <p:nvPr>
            <p:ph type="body" sz="quarter" idx="3" hasCustomPrompt="1"/>
          </p:nvPr>
        </p:nvSpPr>
        <p:spPr>
          <a:xfrm>
            <a:off x="6172200" y="1681163"/>
            <a:ext cx="5183188"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err="1"/>
              <a:t>Lorem</a:t>
            </a:r>
            <a:r>
              <a:rPr lang="fr-FR"/>
              <a:t> </a:t>
            </a:r>
            <a:r>
              <a:rPr lang="fr-FR" err="1"/>
              <a:t>ispum</a:t>
            </a:r>
            <a:endParaRPr lang="fr-FR"/>
          </a:p>
        </p:txBody>
      </p:sp>
      <p:sp>
        <p:nvSpPr>
          <p:cNvPr id="6" name="Espace réservé du contenu 5">
            <a:extLst>
              <a:ext uri="{FF2B5EF4-FFF2-40B4-BE49-F238E27FC236}">
                <a16:creationId xmlns:a16="http://schemas.microsoft.com/office/drawing/2014/main" id="{5F52A86E-9CA1-AD43-B6A5-0A405E9C31EB}"/>
              </a:ext>
            </a:extLst>
          </p:cNvPr>
          <p:cNvSpPr>
            <a:spLocks noGrp="1"/>
          </p:cNvSpPr>
          <p:nvPr>
            <p:ph sz="quarter" idx="4" hasCustomPrompt="1"/>
          </p:nvPr>
        </p:nvSpPr>
        <p:spPr>
          <a:xfrm>
            <a:off x="6172200" y="2505075"/>
            <a:ext cx="5183188" cy="368458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7" name="Espace réservé de la date 6">
            <a:extLst>
              <a:ext uri="{FF2B5EF4-FFF2-40B4-BE49-F238E27FC236}">
                <a16:creationId xmlns:a16="http://schemas.microsoft.com/office/drawing/2014/main" id="{87E7B6AE-E6DB-A64E-BAEC-298675A83F9B}"/>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8" name="Espace réservé du pied de page 7">
            <a:extLst>
              <a:ext uri="{FF2B5EF4-FFF2-40B4-BE49-F238E27FC236}">
                <a16:creationId xmlns:a16="http://schemas.microsoft.com/office/drawing/2014/main" id="{957D2261-BCA3-9144-8201-FE696F6AC220}"/>
              </a:ext>
            </a:extLst>
          </p:cNvPr>
          <p:cNvSpPr>
            <a:spLocks noGrp="1"/>
          </p:cNvSpPr>
          <p:nvPr>
            <p:ph type="ftr" sz="quarter" idx="11"/>
          </p:nvPr>
        </p:nvSpPr>
        <p:spPr/>
        <p:txBody>
          <a:bodyPr/>
          <a:lstStyle/>
          <a:p>
            <a:endParaRPr lang="en-GB"/>
          </a:p>
        </p:txBody>
      </p:sp>
      <p:sp>
        <p:nvSpPr>
          <p:cNvPr id="9" name="Espace réservé du numéro de diapositive 8">
            <a:extLst>
              <a:ext uri="{FF2B5EF4-FFF2-40B4-BE49-F238E27FC236}">
                <a16:creationId xmlns:a16="http://schemas.microsoft.com/office/drawing/2014/main" id="{6E6198D3-38B6-DF40-926F-C6044CECF270}"/>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23559757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Main template_Titlealo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D91BF3-1C86-1D41-8AA6-80AD57F033AF}"/>
              </a:ext>
            </a:extLst>
          </p:cNvPr>
          <p:cNvSpPr>
            <a:spLocks noGrp="1"/>
          </p:cNvSpPr>
          <p:nvPr>
            <p:ph type="title" hasCustomPrompt="1"/>
          </p:nvPr>
        </p:nvSpPr>
        <p:spPr/>
        <p:txBody>
          <a:bodyPr/>
          <a:lstStyle/>
          <a:p>
            <a:r>
              <a:rPr lang="fr-FR" err="1"/>
              <a:t>Lorem</a:t>
            </a:r>
            <a:r>
              <a:rPr lang="fr-FR"/>
              <a:t> </a:t>
            </a:r>
            <a:r>
              <a:rPr lang="fr-FR" err="1"/>
              <a:t>ipsum</a:t>
            </a:r>
            <a:endParaRPr lang="en-GB"/>
          </a:p>
        </p:txBody>
      </p:sp>
      <p:sp>
        <p:nvSpPr>
          <p:cNvPr id="3" name="Espace réservé de la date 2">
            <a:extLst>
              <a:ext uri="{FF2B5EF4-FFF2-40B4-BE49-F238E27FC236}">
                <a16:creationId xmlns:a16="http://schemas.microsoft.com/office/drawing/2014/main" id="{DBF1BB0B-EFC6-8E42-A8E3-9A089515C63F}"/>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4" name="Espace réservé du pied de page 3">
            <a:extLst>
              <a:ext uri="{FF2B5EF4-FFF2-40B4-BE49-F238E27FC236}">
                <a16:creationId xmlns:a16="http://schemas.microsoft.com/office/drawing/2014/main" id="{77F4F73F-5F01-B84F-B317-BD366780B642}"/>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EC881AA6-8DCC-CD44-AFF6-738064468951}"/>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2853256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Main template_Contentwithlegen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7889BC-ED61-D042-91A5-2E94EA700CB0}"/>
              </a:ext>
            </a:extLst>
          </p:cNvPr>
          <p:cNvSpPr>
            <a:spLocks noGrp="1"/>
          </p:cNvSpPr>
          <p:nvPr>
            <p:ph type="title" hasCustomPrompt="1"/>
          </p:nvPr>
        </p:nvSpPr>
        <p:spPr>
          <a:xfrm>
            <a:off x="839788" y="457200"/>
            <a:ext cx="3932237" cy="1600200"/>
          </a:xfrm>
        </p:spPr>
        <p:txBody>
          <a:bodyPr anchor="b"/>
          <a:lstStyle>
            <a:lvl1pPr>
              <a:defRPr sz="3200"/>
            </a:lvl1pPr>
          </a:lstStyle>
          <a:p>
            <a:r>
              <a:rPr lang="fr-FR" err="1"/>
              <a:t>Lorem</a:t>
            </a:r>
            <a:r>
              <a:rPr lang="fr-FR"/>
              <a:t> </a:t>
            </a:r>
            <a:r>
              <a:rPr lang="fr-FR" err="1"/>
              <a:t>ipsum</a:t>
            </a:r>
            <a:endParaRPr lang="en-GB"/>
          </a:p>
        </p:txBody>
      </p:sp>
      <p:sp>
        <p:nvSpPr>
          <p:cNvPr id="3" name="Espace réservé du contenu 2">
            <a:extLst>
              <a:ext uri="{FF2B5EF4-FFF2-40B4-BE49-F238E27FC236}">
                <a16:creationId xmlns:a16="http://schemas.microsoft.com/office/drawing/2014/main" id="{3D6659DE-712A-E14B-A4B9-BEFCCB48DD14}"/>
              </a:ext>
            </a:extLst>
          </p:cNvPr>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u texte 3">
            <a:extLst>
              <a:ext uri="{FF2B5EF4-FFF2-40B4-BE49-F238E27FC236}">
                <a16:creationId xmlns:a16="http://schemas.microsoft.com/office/drawing/2014/main" id="{0E311ABB-90F0-E248-BFD1-72DF6391DB21}"/>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err="1"/>
              <a:t>Lorem</a:t>
            </a:r>
            <a:r>
              <a:rPr lang="fr-FR"/>
              <a:t> </a:t>
            </a:r>
            <a:r>
              <a:rPr lang="fr-FR" err="1"/>
              <a:t>ipsum</a:t>
            </a:r>
            <a:endParaRPr lang="fr-FR"/>
          </a:p>
        </p:txBody>
      </p:sp>
      <p:sp>
        <p:nvSpPr>
          <p:cNvPr id="5" name="Espace réservé de la date 4">
            <a:extLst>
              <a:ext uri="{FF2B5EF4-FFF2-40B4-BE49-F238E27FC236}">
                <a16:creationId xmlns:a16="http://schemas.microsoft.com/office/drawing/2014/main" id="{C338793A-330E-B64D-8C79-83DAD9F53C71}"/>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6" name="Espace réservé du pied de page 5">
            <a:extLst>
              <a:ext uri="{FF2B5EF4-FFF2-40B4-BE49-F238E27FC236}">
                <a16:creationId xmlns:a16="http://schemas.microsoft.com/office/drawing/2014/main" id="{F7475C8B-8BA7-FE4B-9EA6-9B03D60FA1C2}"/>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3C1F301F-BCD5-5A45-A4BB-C5162AAE7004}"/>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33743834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Main template_Imagewithlegen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9871FB-FBD3-CD40-8C6A-DD7D9F323F93}"/>
              </a:ext>
            </a:extLst>
          </p:cNvPr>
          <p:cNvSpPr>
            <a:spLocks noGrp="1"/>
          </p:cNvSpPr>
          <p:nvPr>
            <p:ph type="title" hasCustomPrompt="1"/>
          </p:nvPr>
        </p:nvSpPr>
        <p:spPr>
          <a:xfrm>
            <a:off x="839788" y="457200"/>
            <a:ext cx="3932237" cy="1600200"/>
          </a:xfrm>
        </p:spPr>
        <p:txBody>
          <a:bodyPr anchor="b"/>
          <a:lstStyle>
            <a:lvl1pPr>
              <a:defRPr sz="3200"/>
            </a:lvl1pPr>
          </a:lstStyle>
          <a:p>
            <a:r>
              <a:rPr lang="fr-FR" err="1"/>
              <a:t>Lorem</a:t>
            </a:r>
            <a:r>
              <a:rPr lang="fr-FR"/>
              <a:t> </a:t>
            </a:r>
            <a:r>
              <a:rPr lang="fr-FR" err="1"/>
              <a:t>ipsum</a:t>
            </a:r>
            <a:endParaRPr lang="en-GB"/>
          </a:p>
        </p:txBody>
      </p:sp>
      <p:sp>
        <p:nvSpPr>
          <p:cNvPr id="3" name="Espace réservé pour une image  2">
            <a:extLst>
              <a:ext uri="{FF2B5EF4-FFF2-40B4-BE49-F238E27FC236}">
                <a16:creationId xmlns:a16="http://schemas.microsoft.com/office/drawing/2014/main" id="{ABE09DB8-4698-F749-82DC-5EA318955C86}"/>
              </a:ext>
            </a:extLst>
          </p:cNvPr>
          <p:cNvSpPr>
            <a:spLocks noGrp="1"/>
          </p:cNvSpPr>
          <p:nvPr>
            <p:ph type="pic" idx="1" hasCustomPrompt="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Lorem</a:t>
            </a:r>
            <a:r>
              <a:rPr lang="fr-FR"/>
              <a:t> </a:t>
            </a:r>
            <a:r>
              <a:rPr lang="fr-FR" err="1"/>
              <a:t>ipsum</a:t>
            </a:r>
            <a:endParaRPr lang="en-GB"/>
          </a:p>
        </p:txBody>
      </p:sp>
      <p:sp>
        <p:nvSpPr>
          <p:cNvPr id="4" name="Espace réservé du texte 3">
            <a:extLst>
              <a:ext uri="{FF2B5EF4-FFF2-40B4-BE49-F238E27FC236}">
                <a16:creationId xmlns:a16="http://schemas.microsoft.com/office/drawing/2014/main" id="{6C578E32-5555-6F4D-B3F1-577233F21F3B}"/>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err="1"/>
              <a:t>Lorem</a:t>
            </a:r>
            <a:r>
              <a:rPr lang="fr-FR"/>
              <a:t> </a:t>
            </a:r>
            <a:r>
              <a:rPr lang="fr-FR" err="1"/>
              <a:t>ipsum</a:t>
            </a:r>
            <a:endParaRPr lang="fr-FR"/>
          </a:p>
        </p:txBody>
      </p:sp>
      <p:sp>
        <p:nvSpPr>
          <p:cNvPr id="5" name="Espace réservé de la date 4">
            <a:extLst>
              <a:ext uri="{FF2B5EF4-FFF2-40B4-BE49-F238E27FC236}">
                <a16:creationId xmlns:a16="http://schemas.microsoft.com/office/drawing/2014/main" id="{33535D87-CC2B-FC4F-84BA-EA3960D257FA}"/>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6" name="Espace réservé du pied de page 5">
            <a:extLst>
              <a:ext uri="{FF2B5EF4-FFF2-40B4-BE49-F238E27FC236}">
                <a16:creationId xmlns:a16="http://schemas.microsoft.com/office/drawing/2014/main" id="{AFD54A7C-909C-5C4C-B833-C8E09EC1DCAA}"/>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7945F54E-03A9-1047-904F-19F89C0D328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5413059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de-DE"/>
              <a:t>Titelmasterformat durch Klicken bearbeiten</a:t>
            </a:r>
            <a:endParaRPr lang="de-AT"/>
          </a:p>
        </p:txBody>
      </p:sp>
      <p:sp>
        <p:nvSpPr>
          <p:cNvPr id="3" name="Untertitel 2"/>
          <p:cNvSpPr>
            <a:spLocks noGrp="1"/>
          </p:cNvSpPr>
          <p:nvPr>
            <p:ph type="subTitle" idx="1"/>
          </p:nvPr>
        </p:nvSpPr>
        <p:spPr>
          <a:xfrm>
            <a:off x="1524000" y="3602037"/>
            <a:ext cx="9144000" cy="1655763"/>
          </a:xfrm>
          <a:prstGeom prst="rect">
            <a:avLst/>
          </a:prstGeo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Formatvorlage des Untertitelmasters durch Klicken bearbeiten</a:t>
            </a:r>
            <a:endParaRPr lang="de-AT"/>
          </a:p>
        </p:txBody>
      </p:sp>
      <p:sp>
        <p:nvSpPr>
          <p:cNvPr id="4" name="Datumsplatzhalter 3"/>
          <p:cNvSpPr>
            <a:spLocks noGrp="1"/>
          </p:cNvSpPr>
          <p:nvPr>
            <p:ph type="dt" sz="half" idx="10"/>
          </p:nvPr>
        </p:nvSpPr>
        <p:spPr>
          <a:xfrm>
            <a:off x="838200" y="6356351"/>
            <a:ext cx="2743200" cy="365125"/>
          </a:xfrm>
          <a:prstGeom prst="rect">
            <a:avLst/>
          </a:prstGeom>
        </p:spPr>
        <p:txBody>
          <a:bodyPr/>
          <a:lstStyle/>
          <a:p>
            <a:r>
              <a:rPr lang="de-DE"/>
              <a:t>13.04.2023</a:t>
            </a:r>
            <a:endParaRPr lang="de-AT"/>
          </a:p>
        </p:txBody>
      </p:sp>
      <p:sp>
        <p:nvSpPr>
          <p:cNvPr id="5" name="Fußzeilenplatzhalter 4"/>
          <p:cNvSpPr>
            <a:spLocks noGrp="1"/>
          </p:cNvSpPr>
          <p:nvPr>
            <p:ph type="ftr" sz="quarter" idx="11"/>
          </p:nvPr>
        </p:nvSpPr>
        <p:spPr>
          <a:xfrm>
            <a:off x="4038600" y="6356351"/>
            <a:ext cx="4114800" cy="365125"/>
          </a:xfrm>
          <a:prstGeom prst="rect">
            <a:avLst/>
          </a:prstGeom>
        </p:spPr>
        <p:txBody>
          <a:bodyPr/>
          <a:lstStyle/>
          <a:p>
            <a:endParaRPr lang="de-AT"/>
          </a:p>
        </p:txBody>
      </p:sp>
      <p:sp>
        <p:nvSpPr>
          <p:cNvPr id="6" name="Foliennummernplatzhalter 5"/>
          <p:cNvSpPr>
            <a:spLocks noGrp="1"/>
          </p:cNvSpPr>
          <p:nvPr>
            <p:ph type="sldNum" sz="quarter" idx="12"/>
          </p:nvPr>
        </p:nvSpPr>
        <p:spPr>
          <a:xfrm>
            <a:off x="8610600" y="6356351"/>
            <a:ext cx="2743200" cy="365125"/>
          </a:xfrm>
          <a:prstGeom prst="rect">
            <a:avLst/>
          </a:prstGeom>
        </p:spPr>
        <p:txBody>
          <a:bodyPr/>
          <a:lstStyle/>
          <a:p>
            <a:fld id="{53E44881-4E3D-47E9-9F7B-6C92E4FB4E6B}" type="slidenum">
              <a:rPr lang="de-AT" smtClean="0"/>
              <a:t>‹#›</a:t>
            </a:fld>
            <a:endParaRPr lang="de-AT"/>
          </a:p>
        </p:txBody>
      </p:sp>
    </p:spTree>
    <p:extLst>
      <p:ext uri="{BB962C8B-B14F-4D97-AF65-F5344CB8AC3E}">
        <p14:creationId xmlns:p14="http://schemas.microsoft.com/office/powerpoint/2010/main" val="41136908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Leere Seite">
    <p:spTree>
      <p:nvGrpSpPr>
        <p:cNvPr id="1" name=""/>
        <p:cNvGrpSpPr/>
        <p:nvPr/>
      </p:nvGrpSpPr>
      <p:grpSpPr>
        <a:xfrm>
          <a:off x="0" y="0"/>
          <a:ext cx="0" cy="0"/>
          <a:chOff x="0" y="0"/>
          <a:chExt cx="0" cy="0"/>
        </a:xfrm>
      </p:grpSpPr>
      <p:sp>
        <p:nvSpPr>
          <p:cNvPr id="6" name="Datumsplatzhalter 5">
            <a:extLst>
              <a:ext uri="{FF2B5EF4-FFF2-40B4-BE49-F238E27FC236}">
                <a16:creationId xmlns:a16="http://schemas.microsoft.com/office/drawing/2014/main" id="{BE61C891-5365-594F-B4CD-9250E35089F8}"/>
              </a:ext>
            </a:extLst>
          </p:cNvPr>
          <p:cNvSpPr>
            <a:spLocks noGrp="1"/>
          </p:cNvSpPr>
          <p:nvPr>
            <p:ph type="dt" sz="half" idx="10"/>
          </p:nvPr>
        </p:nvSpPr>
        <p:spPr>
          <a:xfrm>
            <a:off x="838200" y="6356351"/>
            <a:ext cx="2743200" cy="365125"/>
          </a:xfrm>
          <a:prstGeom prst="rect">
            <a:avLst/>
          </a:prstGeom>
        </p:spPr>
        <p:txBody>
          <a:bodyPr/>
          <a:lstStyle/>
          <a:p>
            <a:pPr>
              <a:defRPr/>
            </a:pPr>
            <a:r>
              <a:rPr lang="de-DE"/>
              <a:t>13.04.2023</a:t>
            </a:r>
          </a:p>
        </p:txBody>
      </p:sp>
      <p:sp>
        <p:nvSpPr>
          <p:cNvPr id="10" name="Titelplatzhalter 4">
            <a:extLst>
              <a:ext uri="{FF2B5EF4-FFF2-40B4-BE49-F238E27FC236}">
                <a16:creationId xmlns:a16="http://schemas.microsoft.com/office/drawing/2014/main" id="{18E2124F-D99E-1D4A-BC24-70A895C7022A}"/>
              </a:ext>
            </a:extLst>
          </p:cNvPr>
          <p:cNvSpPr>
            <a:spLocks noGrp="1"/>
          </p:cNvSpPr>
          <p:nvPr>
            <p:ph type="title"/>
          </p:nvPr>
        </p:nvSpPr>
        <p:spPr>
          <a:xfrm>
            <a:off x="664618" y="288000"/>
            <a:ext cx="8621893" cy="396000"/>
          </a:xfrm>
          <a:prstGeom prst="rect">
            <a:avLst/>
          </a:prstGeom>
        </p:spPr>
        <p:txBody>
          <a:bodyPr vert="horz" lIns="0" tIns="0" rIns="0" bIns="0" rtlCol="0" anchor="b" anchorCtr="0">
            <a:normAutofit/>
          </a:bodyPr>
          <a:lstStyle/>
          <a:p>
            <a:r>
              <a:rPr lang="de-DE"/>
              <a:t>Mastertitelformat bearbeiten</a:t>
            </a:r>
          </a:p>
        </p:txBody>
      </p:sp>
      <p:sp>
        <p:nvSpPr>
          <p:cNvPr id="12" name="Foliennummernplatzhalter 8">
            <a:extLst>
              <a:ext uri="{FF2B5EF4-FFF2-40B4-BE49-F238E27FC236}">
                <a16:creationId xmlns:a16="http://schemas.microsoft.com/office/drawing/2014/main" id="{0B67A6AA-E5D3-9D41-81F0-2EF39A0A102D}"/>
              </a:ext>
            </a:extLst>
          </p:cNvPr>
          <p:cNvSpPr>
            <a:spLocks noGrp="1"/>
          </p:cNvSpPr>
          <p:nvPr>
            <p:ph type="sldNum" sz="quarter" idx="4"/>
          </p:nvPr>
        </p:nvSpPr>
        <p:spPr>
          <a:xfrm>
            <a:off x="10932717" y="6453338"/>
            <a:ext cx="587283" cy="239633"/>
          </a:xfrm>
          <a:prstGeom prst="rect">
            <a:avLst/>
          </a:prstGeom>
        </p:spPr>
        <p:txBody>
          <a:bodyPr vert="horz" lIns="0" tIns="0" rIns="0" bIns="0" rtlCol="0" anchor="t" anchorCtr="0"/>
          <a:lstStyle>
            <a:lvl1pPr algn="r">
              <a:defRPr lang="de-DE" sz="799" kern="1200" smtClean="0">
                <a:solidFill>
                  <a:schemeClr val="bg1"/>
                </a:solidFill>
                <a:latin typeface="Arial" charset="0"/>
                <a:ea typeface="ヒラギノ角ゴ Pro W3" charset="0"/>
                <a:cs typeface="ヒラギノ角ゴ Pro W3" charset="0"/>
              </a:defRPr>
            </a:lvl1pPr>
          </a:lstStyle>
          <a:p>
            <a:fld id="{18D91C70-5C3D-E148-A360-4F6F11B94339}" type="slidenum">
              <a:rPr lang="de-AT" smtClean="0"/>
              <a:pPr/>
              <a:t>‹#›</a:t>
            </a:fld>
            <a:endParaRPr lang="de-AT"/>
          </a:p>
        </p:txBody>
      </p:sp>
    </p:spTree>
    <p:extLst>
      <p:ext uri="{BB962C8B-B14F-4D97-AF65-F5344CB8AC3E}">
        <p14:creationId xmlns:p14="http://schemas.microsoft.com/office/powerpoint/2010/main" val="1234030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Diapositive de titre">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E8476ABF-C079-022D-E0CF-A69E87CAE35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33246" y="1399413"/>
            <a:ext cx="11094301" cy="5086441"/>
          </a:xfrm>
          <a:prstGeom prst="rect">
            <a:avLst/>
          </a:prstGeom>
        </p:spPr>
      </p:pic>
      <p:sp>
        <p:nvSpPr>
          <p:cNvPr id="6" name="ZoneTexte 5">
            <a:extLst>
              <a:ext uri="{FF2B5EF4-FFF2-40B4-BE49-F238E27FC236}">
                <a16:creationId xmlns:a16="http://schemas.microsoft.com/office/drawing/2014/main" id="{8B7D6CE7-6EFC-E926-70C1-A527DCE16BE5}"/>
              </a:ext>
            </a:extLst>
          </p:cNvPr>
          <p:cNvSpPr txBox="1"/>
          <p:nvPr userDrawn="1"/>
        </p:nvSpPr>
        <p:spPr>
          <a:xfrm>
            <a:off x="4196972" y="733245"/>
            <a:ext cx="4149305" cy="523221"/>
          </a:xfrm>
          <a:prstGeom prst="rect">
            <a:avLst/>
          </a:prstGeom>
          <a:noFill/>
        </p:spPr>
        <p:txBody>
          <a:bodyPr wrap="square" rtlCol="0">
            <a:spAutoFit/>
          </a:bodyPr>
          <a:lstStyle/>
          <a:p>
            <a:pPr algn="ctr"/>
            <a:r>
              <a:rPr lang="fr-BE" sz="2800" b="1" i="0">
                <a:solidFill>
                  <a:srgbClr val="0C1D3E"/>
                </a:solidFill>
                <a:effectLst/>
                <a:latin typeface="Calibri" panose="020F0502020204030204" pitchFamily="34" charset="0"/>
                <a:ea typeface="Calibri" panose="020F0502020204030204" pitchFamily="34" charset="0"/>
                <a:cs typeface="Calibri" panose="020F0502020204030204" pitchFamily="34" charset="0"/>
              </a:rPr>
              <a:t>Founding Members</a:t>
            </a:r>
            <a:endParaRPr lang="fr-BE" sz="2800" b="1">
              <a:solidFill>
                <a:srgbClr val="0C1D3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99801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Inhalt">
    <p:spTree>
      <p:nvGrpSpPr>
        <p:cNvPr id="1" name=""/>
        <p:cNvGrpSpPr/>
        <p:nvPr/>
      </p:nvGrpSpPr>
      <p:grpSpPr>
        <a:xfrm>
          <a:off x="0" y="0"/>
          <a:ext cx="0" cy="0"/>
          <a:chOff x="0" y="0"/>
          <a:chExt cx="0" cy="0"/>
        </a:xfrm>
      </p:grpSpPr>
      <p:sp>
        <p:nvSpPr>
          <p:cNvPr id="14" name="Inhaltsplatzhalter 13"/>
          <p:cNvSpPr>
            <a:spLocks noGrp="1"/>
          </p:cNvSpPr>
          <p:nvPr>
            <p:ph sz="quarter" idx="13"/>
          </p:nvPr>
        </p:nvSpPr>
        <p:spPr>
          <a:xfrm>
            <a:off x="672001" y="1363134"/>
            <a:ext cx="10814175" cy="434975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E009EA7B-BB17-5744-90FF-FF51C251E82A}"/>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81D8801-432A-7C4B-A216-EA4D417754F2}"/>
              </a:ext>
            </a:extLst>
          </p:cNvPr>
          <p:cNvSpPr>
            <a:spLocks noGrp="1"/>
          </p:cNvSpPr>
          <p:nvPr>
            <p:ph type="dt" sz="half" idx="14"/>
          </p:nvPr>
        </p:nvSpPr>
        <p:spPr>
          <a:xfrm>
            <a:off x="6098341" y="6468534"/>
            <a:ext cx="1068755" cy="263525"/>
          </a:xfrm>
          <a:prstGeom prst="rect">
            <a:avLst/>
          </a:prstGeom>
        </p:spPr>
        <p:txBody>
          <a:bodyPr/>
          <a:lstStyle/>
          <a:p>
            <a:pPr>
              <a:defRPr/>
            </a:pPr>
            <a:r>
              <a:rPr lang="de-DE"/>
              <a:t>13.04.2023</a:t>
            </a:r>
          </a:p>
        </p:txBody>
      </p:sp>
      <p:sp>
        <p:nvSpPr>
          <p:cNvPr id="7" name="Foliennummernplatzhalter 6">
            <a:extLst>
              <a:ext uri="{FF2B5EF4-FFF2-40B4-BE49-F238E27FC236}">
                <a16:creationId xmlns:a16="http://schemas.microsoft.com/office/drawing/2014/main" id="{21F4E8F3-3227-154D-8511-4A60A13EF969}"/>
              </a:ext>
            </a:extLst>
          </p:cNvPr>
          <p:cNvSpPr>
            <a:spLocks noGrp="1"/>
          </p:cNvSpPr>
          <p:nvPr>
            <p:ph type="sldNum" sz="quarter" idx="15"/>
          </p:nvPr>
        </p:nvSpPr>
        <p:spPr/>
        <p:txBody>
          <a:bodyPr/>
          <a:lstStyle/>
          <a:p>
            <a:pPr>
              <a:defRPr/>
            </a:pPr>
            <a:fld id="{420B1292-A1E7-D14C-97CA-F675562D6730}" type="slidenum">
              <a:rPr lang="de-DE" smtClean="0"/>
              <a:pPr>
                <a:defRPr/>
              </a:pPr>
              <a:t>‹#›</a:t>
            </a:fld>
            <a:endParaRPr lang="de-DE"/>
          </a:p>
        </p:txBody>
      </p:sp>
    </p:spTree>
    <p:extLst>
      <p:ext uri="{BB962C8B-B14F-4D97-AF65-F5344CB8AC3E}">
        <p14:creationId xmlns:p14="http://schemas.microsoft.com/office/powerpoint/2010/main" val="3306169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772876" y="1407937"/>
            <a:ext cx="9767959"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772877" y="234300"/>
            <a:ext cx="9767960" cy="1053089"/>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3603317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760520" y="1030253"/>
            <a:ext cx="10670959" cy="732935"/>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763478" y="1935333"/>
            <a:ext cx="10670961" cy="4456589"/>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8789010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ain template_Titl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07FE89-08DC-3542-B751-1572C5BAEAE0}"/>
              </a:ext>
            </a:extLst>
          </p:cNvPr>
          <p:cNvSpPr>
            <a:spLocks noGrp="1"/>
          </p:cNvSpPr>
          <p:nvPr>
            <p:ph type="ctrTitle" hasCustomPrompt="1"/>
          </p:nvPr>
        </p:nvSpPr>
        <p:spPr>
          <a:xfrm>
            <a:off x="1524000" y="1122363"/>
            <a:ext cx="9144000" cy="2387600"/>
          </a:xfrm>
        </p:spPr>
        <p:txBody>
          <a:bodyPr anchor="b">
            <a:normAutofit/>
          </a:bodyPr>
          <a:lstStyle>
            <a:lvl1pPr algn="ctr">
              <a:defRPr sz="5400">
                <a:solidFill>
                  <a:srgbClr val="91CB60"/>
                </a:solidFill>
              </a:defRPr>
            </a:lvl1pPr>
          </a:lstStyle>
          <a:p>
            <a:r>
              <a:rPr lang="fr-FR"/>
              <a:t>LOREM IPSUM</a:t>
            </a:r>
            <a:endParaRPr lang="en-GB"/>
          </a:p>
        </p:txBody>
      </p:sp>
      <p:sp>
        <p:nvSpPr>
          <p:cNvPr id="3" name="Sous-titre 2">
            <a:extLst>
              <a:ext uri="{FF2B5EF4-FFF2-40B4-BE49-F238E27FC236}">
                <a16:creationId xmlns:a16="http://schemas.microsoft.com/office/drawing/2014/main" id="{06FD7AF3-89C0-3A44-A75E-835B3872B44B}"/>
              </a:ext>
            </a:extLst>
          </p:cNvPr>
          <p:cNvSpPr>
            <a:spLocks noGrp="1"/>
          </p:cNvSpPr>
          <p:nvPr>
            <p:ph type="subTitle" idx="1" hasCustomPrompt="1"/>
          </p:nvPr>
        </p:nvSpPr>
        <p:spPr>
          <a:xfrm>
            <a:off x="1524000" y="3602038"/>
            <a:ext cx="9144000" cy="47783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0B46ED08-B34E-1D44-85CF-972605D67EDB}"/>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27EF1F25-6BB9-AF45-86D2-8DBA6E1A37BE}"/>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D1B62F-8B1E-8A42-AB23-378B508495C7}"/>
              </a:ext>
            </a:extLst>
          </p:cNvPr>
          <p:cNvSpPr>
            <a:spLocks noGrp="1"/>
          </p:cNvSpPr>
          <p:nvPr>
            <p:ph type="sldNum" sz="quarter" idx="12"/>
          </p:nvPr>
        </p:nvSpPr>
        <p:spPr/>
        <p:txBody>
          <a:bodyPr/>
          <a:lstStyle/>
          <a:p>
            <a:fld id="{6ABB0DC6-0311-9D4C-8333-A8862636E7AD}" type="slidenum">
              <a:rPr lang="en-GB" smtClean="0"/>
              <a:t>‹#›</a:t>
            </a:fld>
            <a:endParaRPr lang="en-GB"/>
          </a:p>
        </p:txBody>
      </p:sp>
      <p:sp>
        <p:nvSpPr>
          <p:cNvPr id="9" name="Espace réservé du texte 8">
            <a:extLst>
              <a:ext uri="{FF2B5EF4-FFF2-40B4-BE49-F238E27FC236}">
                <a16:creationId xmlns:a16="http://schemas.microsoft.com/office/drawing/2014/main" id="{CD2B3C72-A402-BA4F-A6B1-4EAAC9EB43CE}"/>
              </a:ext>
            </a:extLst>
          </p:cNvPr>
          <p:cNvSpPr>
            <a:spLocks noGrp="1"/>
          </p:cNvSpPr>
          <p:nvPr>
            <p:ph type="body" sz="quarter" idx="13" hasCustomPrompt="1"/>
          </p:nvPr>
        </p:nvSpPr>
        <p:spPr>
          <a:xfrm>
            <a:off x="1524000" y="4211638"/>
            <a:ext cx="9144000" cy="565150"/>
          </a:xfrm>
        </p:spPr>
        <p:txBody>
          <a:bodyPr anchor="ctr"/>
          <a:lstStyle>
            <a:lvl1pPr marL="0" indent="0" algn="ctr">
              <a:buNone/>
              <a:defRPr sz="2000"/>
            </a:lvl1pPr>
            <a:lvl2pPr>
              <a:defRPr sz="2000"/>
            </a:lvl2pPr>
          </a:lstStyle>
          <a:p>
            <a:pPr lvl="0"/>
            <a:r>
              <a:rPr lang="fr-FR" err="1"/>
              <a:t>Lorem</a:t>
            </a:r>
            <a:r>
              <a:rPr lang="fr-FR"/>
              <a:t> </a:t>
            </a:r>
            <a:r>
              <a:rPr lang="fr-FR" err="1"/>
              <a:t>ipsum</a:t>
            </a:r>
            <a:r>
              <a:rPr lang="fr-FR"/>
              <a:t> </a:t>
            </a:r>
            <a:endParaRPr lang="en-GB"/>
          </a:p>
        </p:txBody>
      </p:sp>
    </p:spTree>
    <p:extLst>
      <p:ext uri="{BB962C8B-B14F-4D97-AF65-F5344CB8AC3E}">
        <p14:creationId xmlns:p14="http://schemas.microsoft.com/office/powerpoint/2010/main" val="21611231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Main template_Title&amp;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28618D-6FBD-AD4F-8D43-E09890CBEF3D}"/>
              </a:ext>
            </a:extLst>
          </p:cNvPr>
          <p:cNvSpPr>
            <a:spLocks noGrp="1"/>
          </p:cNvSpPr>
          <p:nvPr>
            <p:ph type="title" hasCustomPrompt="1"/>
          </p:nvPr>
        </p:nvSpPr>
        <p:spPr/>
        <p:txBody>
          <a:bodyPr/>
          <a:lstStyle/>
          <a:p>
            <a:r>
              <a:rPr lang="fr-FR"/>
              <a:t>LOREM IPSUM</a:t>
            </a:r>
            <a:endParaRPr lang="en-GB"/>
          </a:p>
        </p:txBody>
      </p:sp>
      <p:sp>
        <p:nvSpPr>
          <p:cNvPr id="3" name="Espace réservé du contenu 2">
            <a:extLst>
              <a:ext uri="{FF2B5EF4-FFF2-40B4-BE49-F238E27FC236}">
                <a16:creationId xmlns:a16="http://schemas.microsoft.com/office/drawing/2014/main" id="{EBE44464-339C-4640-A68F-AD5FAC0DB85D}"/>
              </a:ext>
            </a:extLst>
          </p:cNvPr>
          <p:cNvSpPr>
            <a:spLocks noGrp="1"/>
          </p:cNvSpPr>
          <p:nvPr>
            <p:ph idx="1" hasCustomPrompt="1"/>
          </p:nvPr>
        </p:nvSpPr>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278A20ED-7568-AC40-8952-FE2ACB258D44}"/>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C4500258-EA4E-8244-8D0A-94550C2F7CA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F6F189-3884-AB4B-A72D-2202C1429E1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32568620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Main template_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CE7CD7-DB5D-6A40-ACD5-C35A21F610A8}"/>
              </a:ext>
            </a:extLst>
          </p:cNvPr>
          <p:cNvSpPr>
            <a:spLocks noGrp="1"/>
          </p:cNvSpPr>
          <p:nvPr>
            <p:ph type="title" hasCustomPrompt="1"/>
          </p:nvPr>
        </p:nvSpPr>
        <p:spPr>
          <a:xfrm>
            <a:off x="831850" y="1709738"/>
            <a:ext cx="10515600" cy="2852737"/>
          </a:xfrm>
        </p:spPr>
        <p:txBody>
          <a:bodyPr anchor="b"/>
          <a:lstStyle>
            <a:lvl1pPr>
              <a:defRPr sz="6000"/>
            </a:lvl1pPr>
          </a:lstStyle>
          <a:p>
            <a:r>
              <a:rPr lang="fr-FR" err="1"/>
              <a:t>Lorem</a:t>
            </a:r>
            <a:r>
              <a:rPr lang="fr-FR"/>
              <a:t> </a:t>
            </a:r>
            <a:r>
              <a:rPr lang="fr-FR" err="1"/>
              <a:t>ipsum</a:t>
            </a:r>
            <a:endParaRPr lang="en-GB"/>
          </a:p>
        </p:txBody>
      </p:sp>
      <p:sp>
        <p:nvSpPr>
          <p:cNvPr id="3" name="Espace réservé du texte 2">
            <a:extLst>
              <a:ext uri="{FF2B5EF4-FFF2-40B4-BE49-F238E27FC236}">
                <a16:creationId xmlns:a16="http://schemas.microsoft.com/office/drawing/2014/main" id="{73D52C39-BB30-6740-9299-C9236312A9D6}"/>
              </a:ext>
            </a:extLst>
          </p:cNvPr>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err="1"/>
              <a:t>Lorem</a:t>
            </a:r>
            <a:r>
              <a:rPr lang="fr-FR"/>
              <a:t> </a:t>
            </a:r>
            <a:r>
              <a:rPr lang="fr-FR" err="1"/>
              <a:t>ipsum</a:t>
            </a:r>
            <a:endParaRPr lang="fr-FR"/>
          </a:p>
        </p:txBody>
      </p:sp>
      <p:sp>
        <p:nvSpPr>
          <p:cNvPr id="4" name="Espace réservé de la date 3">
            <a:extLst>
              <a:ext uri="{FF2B5EF4-FFF2-40B4-BE49-F238E27FC236}">
                <a16:creationId xmlns:a16="http://schemas.microsoft.com/office/drawing/2014/main" id="{33301199-6207-5A40-BB46-33D9E5B4C555}"/>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4D21923F-2440-D044-BBE2-B2CA12025E09}"/>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D989BA16-8F1A-C34E-9C84-B9AF9084552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3891788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Main template_Double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20E601-BA9B-EF45-9E00-FFD77A65C02C}"/>
              </a:ext>
            </a:extLst>
          </p:cNvPr>
          <p:cNvSpPr>
            <a:spLocks noGrp="1"/>
          </p:cNvSpPr>
          <p:nvPr>
            <p:ph type="title" hasCustomPrompt="1"/>
          </p:nvPr>
        </p:nvSpPr>
        <p:spPr/>
        <p:txBody>
          <a:bodyPr/>
          <a:lstStyle/>
          <a:p>
            <a:r>
              <a:rPr lang="fr-FR" err="1"/>
              <a:t>Lorem</a:t>
            </a:r>
            <a:r>
              <a:rPr lang="fr-FR"/>
              <a:t> </a:t>
            </a:r>
            <a:r>
              <a:rPr lang="fr-FR" err="1"/>
              <a:t>ipsum</a:t>
            </a:r>
            <a:r>
              <a:rPr lang="fr-FR"/>
              <a:t> </a:t>
            </a:r>
            <a:endParaRPr lang="en-GB"/>
          </a:p>
        </p:txBody>
      </p:sp>
      <p:sp>
        <p:nvSpPr>
          <p:cNvPr id="3" name="Espace réservé du contenu 2">
            <a:extLst>
              <a:ext uri="{FF2B5EF4-FFF2-40B4-BE49-F238E27FC236}">
                <a16:creationId xmlns:a16="http://schemas.microsoft.com/office/drawing/2014/main" id="{86296D85-979F-BB45-9B07-BA1E654D0CD3}"/>
              </a:ext>
            </a:extLst>
          </p:cNvPr>
          <p:cNvSpPr>
            <a:spLocks noGrp="1"/>
          </p:cNvSpPr>
          <p:nvPr>
            <p:ph sz="half" idx="1" hasCustomPrompt="1"/>
          </p:nvPr>
        </p:nvSpPr>
        <p:spPr>
          <a:xfrm>
            <a:off x="838200" y="1825625"/>
            <a:ext cx="5181600" cy="435133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u contenu 3">
            <a:extLst>
              <a:ext uri="{FF2B5EF4-FFF2-40B4-BE49-F238E27FC236}">
                <a16:creationId xmlns:a16="http://schemas.microsoft.com/office/drawing/2014/main" id="{B5BF0CB8-B63B-414F-BB1E-9EB769BC5625}"/>
              </a:ext>
            </a:extLst>
          </p:cNvPr>
          <p:cNvSpPr>
            <a:spLocks noGrp="1"/>
          </p:cNvSpPr>
          <p:nvPr>
            <p:ph sz="half" idx="2" hasCustomPrompt="1"/>
          </p:nvPr>
        </p:nvSpPr>
        <p:spPr>
          <a:xfrm>
            <a:off x="6172200" y="1825625"/>
            <a:ext cx="5181600" cy="435133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5" name="Espace réservé de la date 4">
            <a:extLst>
              <a:ext uri="{FF2B5EF4-FFF2-40B4-BE49-F238E27FC236}">
                <a16:creationId xmlns:a16="http://schemas.microsoft.com/office/drawing/2014/main" id="{D3E0B143-3821-DF40-AEEB-D8F90BF30B28}"/>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6" name="Espace réservé du pied de page 5">
            <a:extLst>
              <a:ext uri="{FF2B5EF4-FFF2-40B4-BE49-F238E27FC236}">
                <a16:creationId xmlns:a16="http://schemas.microsoft.com/office/drawing/2014/main" id="{93C18C91-4470-4D49-BB15-B7B8ABD9FD02}"/>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C04BF901-F9CD-E64E-9DE8-D5EA89788248}"/>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42104973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Main template_Compar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1C9F66-6A3A-5F49-B1FF-8E71DC531091}"/>
              </a:ext>
            </a:extLst>
          </p:cNvPr>
          <p:cNvSpPr>
            <a:spLocks noGrp="1"/>
          </p:cNvSpPr>
          <p:nvPr>
            <p:ph type="title" hasCustomPrompt="1"/>
          </p:nvPr>
        </p:nvSpPr>
        <p:spPr>
          <a:xfrm>
            <a:off x="839788" y="365125"/>
            <a:ext cx="10515600" cy="1325563"/>
          </a:xfrm>
        </p:spPr>
        <p:txBody>
          <a:bodyPr/>
          <a:lstStyle/>
          <a:p>
            <a:r>
              <a:rPr lang="fr-FR" err="1"/>
              <a:t>Lorem</a:t>
            </a:r>
            <a:r>
              <a:rPr lang="fr-FR"/>
              <a:t> </a:t>
            </a:r>
            <a:r>
              <a:rPr lang="fr-FR" err="1"/>
              <a:t>ipsum</a:t>
            </a:r>
            <a:endParaRPr lang="en-GB"/>
          </a:p>
        </p:txBody>
      </p:sp>
      <p:sp>
        <p:nvSpPr>
          <p:cNvPr id="3" name="Espace réservé du texte 2">
            <a:extLst>
              <a:ext uri="{FF2B5EF4-FFF2-40B4-BE49-F238E27FC236}">
                <a16:creationId xmlns:a16="http://schemas.microsoft.com/office/drawing/2014/main" id="{F53C897B-2D16-214E-9BDE-F8ABFFEB40F6}"/>
              </a:ext>
            </a:extLst>
          </p:cNvPr>
          <p:cNvSpPr>
            <a:spLocks noGrp="1"/>
          </p:cNvSpPr>
          <p:nvPr>
            <p:ph type="body" idx="1" hasCustomPrompt="1"/>
          </p:nvPr>
        </p:nvSpPr>
        <p:spPr>
          <a:xfrm>
            <a:off x="839788" y="1681163"/>
            <a:ext cx="5157787"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err="1"/>
              <a:t>Lorem</a:t>
            </a:r>
            <a:r>
              <a:rPr lang="fr-FR"/>
              <a:t> </a:t>
            </a:r>
            <a:r>
              <a:rPr lang="fr-FR" err="1"/>
              <a:t>ipsum</a:t>
            </a:r>
            <a:endParaRPr lang="fr-FR"/>
          </a:p>
        </p:txBody>
      </p:sp>
      <p:sp>
        <p:nvSpPr>
          <p:cNvPr id="4" name="Espace réservé du contenu 3">
            <a:extLst>
              <a:ext uri="{FF2B5EF4-FFF2-40B4-BE49-F238E27FC236}">
                <a16:creationId xmlns:a16="http://schemas.microsoft.com/office/drawing/2014/main" id="{BDE023F1-3872-C248-8717-FAC096DE1C2B}"/>
              </a:ext>
            </a:extLst>
          </p:cNvPr>
          <p:cNvSpPr>
            <a:spLocks noGrp="1"/>
          </p:cNvSpPr>
          <p:nvPr>
            <p:ph sz="half" idx="2" hasCustomPrompt="1"/>
          </p:nvPr>
        </p:nvSpPr>
        <p:spPr>
          <a:xfrm>
            <a:off x="839788" y="2505075"/>
            <a:ext cx="5157787" cy="368458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5" name="Espace réservé du texte 4">
            <a:extLst>
              <a:ext uri="{FF2B5EF4-FFF2-40B4-BE49-F238E27FC236}">
                <a16:creationId xmlns:a16="http://schemas.microsoft.com/office/drawing/2014/main" id="{76801364-1D24-D745-9044-9A1AA3987D0F}"/>
              </a:ext>
            </a:extLst>
          </p:cNvPr>
          <p:cNvSpPr>
            <a:spLocks noGrp="1"/>
          </p:cNvSpPr>
          <p:nvPr>
            <p:ph type="body" sz="quarter" idx="3" hasCustomPrompt="1"/>
          </p:nvPr>
        </p:nvSpPr>
        <p:spPr>
          <a:xfrm>
            <a:off x="6172200" y="1681163"/>
            <a:ext cx="5183188"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err="1"/>
              <a:t>Lorem</a:t>
            </a:r>
            <a:r>
              <a:rPr lang="fr-FR"/>
              <a:t> </a:t>
            </a:r>
            <a:r>
              <a:rPr lang="fr-FR" err="1"/>
              <a:t>ispum</a:t>
            </a:r>
            <a:endParaRPr lang="fr-FR"/>
          </a:p>
        </p:txBody>
      </p:sp>
      <p:sp>
        <p:nvSpPr>
          <p:cNvPr id="6" name="Espace réservé du contenu 5">
            <a:extLst>
              <a:ext uri="{FF2B5EF4-FFF2-40B4-BE49-F238E27FC236}">
                <a16:creationId xmlns:a16="http://schemas.microsoft.com/office/drawing/2014/main" id="{5F52A86E-9CA1-AD43-B6A5-0A405E9C31EB}"/>
              </a:ext>
            </a:extLst>
          </p:cNvPr>
          <p:cNvSpPr>
            <a:spLocks noGrp="1"/>
          </p:cNvSpPr>
          <p:nvPr>
            <p:ph sz="quarter" idx="4" hasCustomPrompt="1"/>
          </p:nvPr>
        </p:nvSpPr>
        <p:spPr>
          <a:xfrm>
            <a:off x="6172200" y="2505075"/>
            <a:ext cx="5183188" cy="368458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7" name="Espace réservé de la date 6">
            <a:extLst>
              <a:ext uri="{FF2B5EF4-FFF2-40B4-BE49-F238E27FC236}">
                <a16:creationId xmlns:a16="http://schemas.microsoft.com/office/drawing/2014/main" id="{87E7B6AE-E6DB-A64E-BAEC-298675A83F9B}"/>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8" name="Espace réservé du pied de page 7">
            <a:extLst>
              <a:ext uri="{FF2B5EF4-FFF2-40B4-BE49-F238E27FC236}">
                <a16:creationId xmlns:a16="http://schemas.microsoft.com/office/drawing/2014/main" id="{957D2261-BCA3-9144-8201-FE696F6AC220}"/>
              </a:ext>
            </a:extLst>
          </p:cNvPr>
          <p:cNvSpPr>
            <a:spLocks noGrp="1"/>
          </p:cNvSpPr>
          <p:nvPr>
            <p:ph type="ftr" sz="quarter" idx="11"/>
          </p:nvPr>
        </p:nvSpPr>
        <p:spPr/>
        <p:txBody>
          <a:bodyPr/>
          <a:lstStyle/>
          <a:p>
            <a:endParaRPr lang="en-GB"/>
          </a:p>
        </p:txBody>
      </p:sp>
      <p:sp>
        <p:nvSpPr>
          <p:cNvPr id="9" name="Espace réservé du numéro de diapositive 8">
            <a:extLst>
              <a:ext uri="{FF2B5EF4-FFF2-40B4-BE49-F238E27FC236}">
                <a16:creationId xmlns:a16="http://schemas.microsoft.com/office/drawing/2014/main" id="{6E6198D3-38B6-DF40-926F-C6044CECF270}"/>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16373676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Main template_Titlealo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D91BF3-1C86-1D41-8AA6-80AD57F033AF}"/>
              </a:ext>
            </a:extLst>
          </p:cNvPr>
          <p:cNvSpPr>
            <a:spLocks noGrp="1"/>
          </p:cNvSpPr>
          <p:nvPr>
            <p:ph type="title" hasCustomPrompt="1"/>
          </p:nvPr>
        </p:nvSpPr>
        <p:spPr/>
        <p:txBody>
          <a:bodyPr/>
          <a:lstStyle/>
          <a:p>
            <a:r>
              <a:rPr lang="fr-FR" err="1"/>
              <a:t>Lorem</a:t>
            </a:r>
            <a:r>
              <a:rPr lang="fr-FR"/>
              <a:t> </a:t>
            </a:r>
            <a:r>
              <a:rPr lang="fr-FR" err="1"/>
              <a:t>ipsum</a:t>
            </a:r>
            <a:endParaRPr lang="en-GB"/>
          </a:p>
        </p:txBody>
      </p:sp>
      <p:sp>
        <p:nvSpPr>
          <p:cNvPr id="3" name="Espace réservé de la date 2">
            <a:extLst>
              <a:ext uri="{FF2B5EF4-FFF2-40B4-BE49-F238E27FC236}">
                <a16:creationId xmlns:a16="http://schemas.microsoft.com/office/drawing/2014/main" id="{DBF1BB0B-EFC6-8E42-A8E3-9A089515C63F}"/>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4" name="Espace réservé du pied de page 3">
            <a:extLst>
              <a:ext uri="{FF2B5EF4-FFF2-40B4-BE49-F238E27FC236}">
                <a16:creationId xmlns:a16="http://schemas.microsoft.com/office/drawing/2014/main" id="{77F4F73F-5F01-B84F-B317-BD366780B642}"/>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EC881AA6-8DCC-CD44-AFF6-738064468951}"/>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25065929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Main template_Contentwithlegen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7889BC-ED61-D042-91A5-2E94EA700CB0}"/>
              </a:ext>
            </a:extLst>
          </p:cNvPr>
          <p:cNvSpPr>
            <a:spLocks noGrp="1"/>
          </p:cNvSpPr>
          <p:nvPr>
            <p:ph type="title" hasCustomPrompt="1"/>
          </p:nvPr>
        </p:nvSpPr>
        <p:spPr>
          <a:xfrm>
            <a:off x="839788" y="457200"/>
            <a:ext cx="3932237" cy="1600200"/>
          </a:xfrm>
        </p:spPr>
        <p:txBody>
          <a:bodyPr anchor="b"/>
          <a:lstStyle>
            <a:lvl1pPr>
              <a:defRPr sz="3200"/>
            </a:lvl1pPr>
          </a:lstStyle>
          <a:p>
            <a:r>
              <a:rPr lang="fr-FR" err="1"/>
              <a:t>Lorem</a:t>
            </a:r>
            <a:r>
              <a:rPr lang="fr-FR"/>
              <a:t> </a:t>
            </a:r>
            <a:r>
              <a:rPr lang="fr-FR" err="1"/>
              <a:t>ipsum</a:t>
            </a:r>
            <a:endParaRPr lang="en-GB"/>
          </a:p>
        </p:txBody>
      </p:sp>
      <p:sp>
        <p:nvSpPr>
          <p:cNvPr id="3" name="Espace réservé du contenu 2">
            <a:extLst>
              <a:ext uri="{FF2B5EF4-FFF2-40B4-BE49-F238E27FC236}">
                <a16:creationId xmlns:a16="http://schemas.microsoft.com/office/drawing/2014/main" id="{3D6659DE-712A-E14B-A4B9-BEFCCB48DD14}"/>
              </a:ext>
            </a:extLst>
          </p:cNvPr>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u texte 3">
            <a:extLst>
              <a:ext uri="{FF2B5EF4-FFF2-40B4-BE49-F238E27FC236}">
                <a16:creationId xmlns:a16="http://schemas.microsoft.com/office/drawing/2014/main" id="{0E311ABB-90F0-E248-BFD1-72DF6391DB21}"/>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err="1"/>
              <a:t>Lorem</a:t>
            </a:r>
            <a:r>
              <a:rPr lang="fr-FR"/>
              <a:t> </a:t>
            </a:r>
            <a:r>
              <a:rPr lang="fr-FR" err="1"/>
              <a:t>ipsum</a:t>
            </a:r>
            <a:endParaRPr lang="fr-FR"/>
          </a:p>
        </p:txBody>
      </p:sp>
      <p:sp>
        <p:nvSpPr>
          <p:cNvPr id="5" name="Espace réservé de la date 4">
            <a:extLst>
              <a:ext uri="{FF2B5EF4-FFF2-40B4-BE49-F238E27FC236}">
                <a16:creationId xmlns:a16="http://schemas.microsoft.com/office/drawing/2014/main" id="{C338793A-330E-B64D-8C79-83DAD9F53C71}"/>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6" name="Espace réservé du pied de page 5">
            <a:extLst>
              <a:ext uri="{FF2B5EF4-FFF2-40B4-BE49-F238E27FC236}">
                <a16:creationId xmlns:a16="http://schemas.microsoft.com/office/drawing/2014/main" id="{F7475C8B-8BA7-FE4B-9EA6-9B03D60FA1C2}"/>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3C1F301F-BCD5-5A45-A4BB-C5162AAE7004}"/>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42832597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High_Title_and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2E6A47D-1E63-43BD-97FB-24C7DA2001F7}"/>
              </a:ext>
            </a:extLst>
          </p:cNvPr>
          <p:cNvSpPr>
            <a:spLocks noGrp="1"/>
          </p:cNvSpPr>
          <p:nvPr>
            <p:ph type="title" hasCustomPrompt="1"/>
          </p:nvPr>
        </p:nvSpPr>
        <p:spPr>
          <a:xfrm>
            <a:off x="1742902" y="224286"/>
            <a:ext cx="7490745" cy="741871"/>
          </a:xfrm>
          <a:prstGeom prst="rect">
            <a:avLst/>
          </a:prstGeom>
        </p:spPr>
        <p:txBody>
          <a:bodyPr/>
          <a:lstStyle>
            <a:lvl1pPr marL="0" indent="0">
              <a:buFont typeface="Arial" panose="020B0604020202020204" pitchFamily="34" charset="0"/>
              <a:buNone/>
              <a:defRPr sz="2400" b="1">
                <a:latin typeface="+mn-lt"/>
              </a:defRPr>
            </a:lvl1pPr>
          </a:lstStyle>
          <a:p>
            <a:r>
              <a:rPr lang="en-GB" noProof="0"/>
              <a:t>Title text block.</a:t>
            </a:r>
          </a:p>
        </p:txBody>
      </p:sp>
      <p:sp>
        <p:nvSpPr>
          <p:cNvPr id="8" name="Espace réservé du texte 17">
            <a:extLst>
              <a:ext uri="{FF2B5EF4-FFF2-40B4-BE49-F238E27FC236}">
                <a16:creationId xmlns:a16="http://schemas.microsoft.com/office/drawing/2014/main" id="{015D2BAE-20F1-48A3-807F-C6F42EE39BE1}"/>
              </a:ext>
            </a:extLst>
          </p:cNvPr>
          <p:cNvSpPr>
            <a:spLocks noGrp="1"/>
          </p:cNvSpPr>
          <p:nvPr>
            <p:ph type="body" sz="quarter" idx="12" hasCustomPrompt="1"/>
          </p:nvPr>
        </p:nvSpPr>
        <p:spPr>
          <a:xfrm>
            <a:off x="758253" y="1086928"/>
            <a:ext cx="11128947" cy="5158597"/>
          </a:xfrm>
          <a:prstGeom prst="rect">
            <a:avLst/>
          </a:prstGeom>
        </p:spPr>
        <p:txBody>
          <a:bodyPr/>
          <a:lstStyle>
            <a:lvl1pPr marL="285750" indent="-285750" algn="l">
              <a:buFont typeface="Arial" panose="020B0604020202020204" pitchFamily="34" charset="0"/>
              <a:buChar char="•"/>
              <a:defRPr sz="2400"/>
            </a:lvl1pPr>
            <a:lvl2pPr marL="800100" indent="-342900">
              <a:buFont typeface="Arial" panose="020B0604020202020204" pitchFamily="34" charset="0"/>
              <a:buChar char="•"/>
              <a:defRPr sz="2000"/>
            </a:lvl2pPr>
            <a:lvl3pPr>
              <a:defRPr sz="1800"/>
            </a:lvl3pPr>
            <a:lvl4pPr>
              <a:defRPr sz="1600"/>
            </a:lvl4pPr>
            <a:lvl5pPr>
              <a:defRPr sz="1600"/>
            </a:lvl5pPr>
          </a:lstStyle>
          <a:p>
            <a:pPr lvl="0"/>
            <a:r>
              <a:rPr lang="en-GB" noProof="0"/>
              <a:t>Lorem ipsum</a:t>
            </a:r>
          </a:p>
          <a:p>
            <a:pPr lvl="1"/>
            <a:r>
              <a:rPr lang="en-GB" noProof="0"/>
              <a:t>Lorem ipsum</a:t>
            </a:r>
          </a:p>
          <a:p>
            <a:pPr lvl="2"/>
            <a:r>
              <a:rPr lang="en-GB" noProof="0"/>
              <a:t>Lorem ipsum</a:t>
            </a:r>
          </a:p>
          <a:p>
            <a:pPr lvl="3"/>
            <a:r>
              <a:rPr lang="en-GB" noProof="0"/>
              <a:t>Lorem ipsum</a:t>
            </a:r>
          </a:p>
          <a:p>
            <a:pPr lvl="4"/>
            <a:r>
              <a:rPr lang="en-GB" noProof="0"/>
              <a:t>Lorem ipsum</a:t>
            </a:r>
          </a:p>
        </p:txBody>
      </p:sp>
      <p:sp>
        <p:nvSpPr>
          <p:cNvPr id="2" name="Foliennummernplatzhalter 1">
            <a:extLst>
              <a:ext uri="{FF2B5EF4-FFF2-40B4-BE49-F238E27FC236}">
                <a16:creationId xmlns:a16="http://schemas.microsoft.com/office/drawing/2014/main" id="{B2AACC19-AAF5-4321-9422-900251135C8B}"/>
              </a:ext>
            </a:extLst>
          </p:cNvPr>
          <p:cNvSpPr>
            <a:spLocks noGrp="1"/>
          </p:cNvSpPr>
          <p:nvPr>
            <p:ph type="sldNum" sz="quarter" idx="13"/>
          </p:nvPr>
        </p:nvSpPr>
        <p:spPr/>
        <p:txBody>
          <a:bodyPr/>
          <a:lstStyle/>
          <a:p>
            <a:fld id="{56536973-A094-468B-8C2D-F0C8F7EA08F5}" type="slidenum">
              <a:rPr lang="en-GB" smtClean="0"/>
              <a:t>‹#›</a:t>
            </a:fld>
            <a:endParaRPr lang="en-GB"/>
          </a:p>
        </p:txBody>
      </p:sp>
      <p:sp>
        <p:nvSpPr>
          <p:cNvPr id="3" name="Slide Number Placeholder 1">
            <a:extLst>
              <a:ext uri="{FF2B5EF4-FFF2-40B4-BE49-F238E27FC236}">
                <a16:creationId xmlns:a16="http://schemas.microsoft.com/office/drawing/2014/main" id="{3187ADBE-FC66-6DB5-4773-CA8E37BA30B3}"/>
              </a:ext>
            </a:extLst>
          </p:cNvPr>
          <p:cNvSpPr txBox="1">
            <a:spLocks/>
          </p:cNvSpPr>
          <p:nvPr userDrawn="1"/>
        </p:nvSpPr>
        <p:spPr>
          <a:xfrm>
            <a:off x="8610600" y="6356350"/>
            <a:ext cx="2743200" cy="365125"/>
          </a:xfrm>
          <a:prstGeom prst="rect">
            <a:avLst/>
          </a:prstGeom>
        </p:spPr>
        <p:txBody>
          <a:bodyPr/>
          <a:lstStyle>
            <a:defPPr>
              <a:defRPr lang="fr-FR"/>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BB0DC6-0311-9D4C-8333-A8862636E7AD}" type="slidenum">
              <a:rPr lang="en-GB" smtClean="0"/>
              <a:pPr/>
              <a:t>‹#›</a:t>
            </a:fld>
            <a:endParaRPr lang="en-GB"/>
          </a:p>
        </p:txBody>
      </p:sp>
    </p:spTree>
    <p:extLst>
      <p:ext uri="{BB962C8B-B14F-4D97-AF65-F5344CB8AC3E}">
        <p14:creationId xmlns:p14="http://schemas.microsoft.com/office/powerpoint/2010/main" val="239504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Main template_Imagewithlegen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9871FB-FBD3-CD40-8C6A-DD7D9F323F93}"/>
              </a:ext>
            </a:extLst>
          </p:cNvPr>
          <p:cNvSpPr>
            <a:spLocks noGrp="1"/>
          </p:cNvSpPr>
          <p:nvPr>
            <p:ph type="title" hasCustomPrompt="1"/>
          </p:nvPr>
        </p:nvSpPr>
        <p:spPr>
          <a:xfrm>
            <a:off x="839788" y="457200"/>
            <a:ext cx="3932237" cy="1600200"/>
          </a:xfrm>
        </p:spPr>
        <p:txBody>
          <a:bodyPr anchor="b"/>
          <a:lstStyle>
            <a:lvl1pPr>
              <a:defRPr sz="3200"/>
            </a:lvl1pPr>
          </a:lstStyle>
          <a:p>
            <a:r>
              <a:rPr lang="fr-FR" err="1"/>
              <a:t>Lorem</a:t>
            </a:r>
            <a:r>
              <a:rPr lang="fr-FR"/>
              <a:t> </a:t>
            </a:r>
            <a:r>
              <a:rPr lang="fr-FR" err="1"/>
              <a:t>ipsum</a:t>
            </a:r>
            <a:endParaRPr lang="en-GB"/>
          </a:p>
        </p:txBody>
      </p:sp>
      <p:sp>
        <p:nvSpPr>
          <p:cNvPr id="3" name="Espace réservé pour une image  2">
            <a:extLst>
              <a:ext uri="{FF2B5EF4-FFF2-40B4-BE49-F238E27FC236}">
                <a16:creationId xmlns:a16="http://schemas.microsoft.com/office/drawing/2014/main" id="{ABE09DB8-4698-F749-82DC-5EA318955C86}"/>
              </a:ext>
            </a:extLst>
          </p:cNvPr>
          <p:cNvSpPr>
            <a:spLocks noGrp="1"/>
          </p:cNvSpPr>
          <p:nvPr>
            <p:ph type="pic" idx="1" hasCustomPrompt="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Lorem</a:t>
            </a:r>
            <a:r>
              <a:rPr lang="fr-FR"/>
              <a:t> </a:t>
            </a:r>
            <a:r>
              <a:rPr lang="fr-FR" err="1"/>
              <a:t>ipsum</a:t>
            </a:r>
            <a:endParaRPr lang="en-GB"/>
          </a:p>
        </p:txBody>
      </p:sp>
      <p:sp>
        <p:nvSpPr>
          <p:cNvPr id="4" name="Espace réservé du texte 3">
            <a:extLst>
              <a:ext uri="{FF2B5EF4-FFF2-40B4-BE49-F238E27FC236}">
                <a16:creationId xmlns:a16="http://schemas.microsoft.com/office/drawing/2014/main" id="{6C578E32-5555-6F4D-B3F1-577233F21F3B}"/>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err="1"/>
              <a:t>Lorem</a:t>
            </a:r>
            <a:r>
              <a:rPr lang="fr-FR"/>
              <a:t> </a:t>
            </a:r>
            <a:r>
              <a:rPr lang="fr-FR" err="1"/>
              <a:t>ipsum</a:t>
            </a:r>
            <a:endParaRPr lang="fr-FR"/>
          </a:p>
        </p:txBody>
      </p:sp>
      <p:sp>
        <p:nvSpPr>
          <p:cNvPr id="5" name="Espace réservé de la date 4">
            <a:extLst>
              <a:ext uri="{FF2B5EF4-FFF2-40B4-BE49-F238E27FC236}">
                <a16:creationId xmlns:a16="http://schemas.microsoft.com/office/drawing/2014/main" id="{33535D87-CC2B-FC4F-84BA-EA3960D257FA}"/>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6" name="Espace réservé du pied de page 5">
            <a:extLst>
              <a:ext uri="{FF2B5EF4-FFF2-40B4-BE49-F238E27FC236}">
                <a16:creationId xmlns:a16="http://schemas.microsoft.com/office/drawing/2014/main" id="{AFD54A7C-909C-5C4C-B833-C8E09EC1DCAA}"/>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7945F54E-03A9-1047-904F-19F89C0D328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29367338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de-DE"/>
              <a:t>Titelmasterformat durch Klicken bearbeiten</a:t>
            </a:r>
            <a:endParaRPr lang="de-AT"/>
          </a:p>
        </p:txBody>
      </p:sp>
      <p:sp>
        <p:nvSpPr>
          <p:cNvPr id="3" name="Untertitel 2"/>
          <p:cNvSpPr>
            <a:spLocks noGrp="1"/>
          </p:cNvSpPr>
          <p:nvPr>
            <p:ph type="subTitle" idx="1"/>
          </p:nvPr>
        </p:nvSpPr>
        <p:spPr>
          <a:xfrm>
            <a:off x="1524000" y="3602037"/>
            <a:ext cx="9144000" cy="1655763"/>
          </a:xfrm>
          <a:prstGeom prst="rect">
            <a:avLst/>
          </a:prstGeo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Formatvorlage des Untertitelmasters durch Klicken bearbeiten</a:t>
            </a:r>
            <a:endParaRPr lang="de-AT"/>
          </a:p>
        </p:txBody>
      </p:sp>
      <p:sp>
        <p:nvSpPr>
          <p:cNvPr id="4" name="Datumsplatzhalter 3"/>
          <p:cNvSpPr>
            <a:spLocks noGrp="1"/>
          </p:cNvSpPr>
          <p:nvPr>
            <p:ph type="dt" sz="half" idx="10"/>
          </p:nvPr>
        </p:nvSpPr>
        <p:spPr>
          <a:xfrm>
            <a:off x="838200" y="6356351"/>
            <a:ext cx="2743200" cy="365125"/>
          </a:xfrm>
          <a:prstGeom prst="rect">
            <a:avLst/>
          </a:prstGeom>
        </p:spPr>
        <p:txBody>
          <a:bodyPr/>
          <a:lstStyle/>
          <a:p>
            <a:r>
              <a:rPr lang="de-DE"/>
              <a:t>13.04.2023</a:t>
            </a:r>
            <a:endParaRPr lang="de-AT"/>
          </a:p>
        </p:txBody>
      </p:sp>
      <p:sp>
        <p:nvSpPr>
          <p:cNvPr id="5" name="Fußzeilenplatzhalter 4"/>
          <p:cNvSpPr>
            <a:spLocks noGrp="1"/>
          </p:cNvSpPr>
          <p:nvPr>
            <p:ph type="ftr" sz="quarter" idx="11"/>
          </p:nvPr>
        </p:nvSpPr>
        <p:spPr>
          <a:xfrm>
            <a:off x="4038600" y="6356351"/>
            <a:ext cx="4114800" cy="365125"/>
          </a:xfrm>
          <a:prstGeom prst="rect">
            <a:avLst/>
          </a:prstGeom>
        </p:spPr>
        <p:txBody>
          <a:bodyPr/>
          <a:lstStyle/>
          <a:p>
            <a:endParaRPr lang="de-AT"/>
          </a:p>
        </p:txBody>
      </p:sp>
      <p:sp>
        <p:nvSpPr>
          <p:cNvPr id="6" name="Foliennummernplatzhalter 5"/>
          <p:cNvSpPr>
            <a:spLocks noGrp="1"/>
          </p:cNvSpPr>
          <p:nvPr>
            <p:ph type="sldNum" sz="quarter" idx="12"/>
          </p:nvPr>
        </p:nvSpPr>
        <p:spPr>
          <a:xfrm>
            <a:off x="8610600" y="6356351"/>
            <a:ext cx="2743200" cy="365125"/>
          </a:xfrm>
          <a:prstGeom prst="rect">
            <a:avLst/>
          </a:prstGeom>
        </p:spPr>
        <p:txBody>
          <a:bodyPr/>
          <a:lstStyle/>
          <a:p>
            <a:fld id="{53E44881-4E3D-47E9-9F7B-6C92E4FB4E6B}" type="slidenum">
              <a:rPr lang="de-AT" smtClean="0"/>
              <a:t>‹#›</a:t>
            </a:fld>
            <a:endParaRPr lang="de-AT"/>
          </a:p>
        </p:txBody>
      </p:sp>
    </p:spTree>
    <p:extLst>
      <p:ext uri="{BB962C8B-B14F-4D97-AF65-F5344CB8AC3E}">
        <p14:creationId xmlns:p14="http://schemas.microsoft.com/office/powerpoint/2010/main" val="8647109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Leere Seite">
    <p:spTree>
      <p:nvGrpSpPr>
        <p:cNvPr id="1" name=""/>
        <p:cNvGrpSpPr/>
        <p:nvPr/>
      </p:nvGrpSpPr>
      <p:grpSpPr>
        <a:xfrm>
          <a:off x="0" y="0"/>
          <a:ext cx="0" cy="0"/>
          <a:chOff x="0" y="0"/>
          <a:chExt cx="0" cy="0"/>
        </a:xfrm>
      </p:grpSpPr>
      <p:sp>
        <p:nvSpPr>
          <p:cNvPr id="6" name="Datumsplatzhalter 5">
            <a:extLst>
              <a:ext uri="{FF2B5EF4-FFF2-40B4-BE49-F238E27FC236}">
                <a16:creationId xmlns:a16="http://schemas.microsoft.com/office/drawing/2014/main" id="{BE61C891-5365-594F-B4CD-9250E35089F8}"/>
              </a:ext>
            </a:extLst>
          </p:cNvPr>
          <p:cNvSpPr>
            <a:spLocks noGrp="1"/>
          </p:cNvSpPr>
          <p:nvPr>
            <p:ph type="dt" sz="half" idx="10"/>
          </p:nvPr>
        </p:nvSpPr>
        <p:spPr>
          <a:xfrm>
            <a:off x="838200" y="6356351"/>
            <a:ext cx="2743200" cy="365125"/>
          </a:xfrm>
          <a:prstGeom prst="rect">
            <a:avLst/>
          </a:prstGeom>
        </p:spPr>
        <p:txBody>
          <a:bodyPr/>
          <a:lstStyle/>
          <a:p>
            <a:pPr>
              <a:defRPr/>
            </a:pPr>
            <a:r>
              <a:rPr lang="de-DE"/>
              <a:t>13.04.2023</a:t>
            </a:r>
          </a:p>
        </p:txBody>
      </p:sp>
      <p:sp>
        <p:nvSpPr>
          <p:cNvPr id="10" name="Titelplatzhalter 4">
            <a:extLst>
              <a:ext uri="{FF2B5EF4-FFF2-40B4-BE49-F238E27FC236}">
                <a16:creationId xmlns:a16="http://schemas.microsoft.com/office/drawing/2014/main" id="{18E2124F-D99E-1D4A-BC24-70A895C7022A}"/>
              </a:ext>
            </a:extLst>
          </p:cNvPr>
          <p:cNvSpPr>
            <a:spLocks noGrp="1"/>
          </p:cNvSpPr>
          <p:nvPr>
            <p:ph type="title"/>
          </p:nvPr>
        </p:nvSpPr>
        <p:spPr>
          <a:xfrm>
            <a:off x="664618" y="288000"/>
            <a:ext cx="8621893" cy="396000"/>
          </a:xfrm>
          <a:prstGeom prst="rect">
            <a:avLst/>
          </a:prstGeom>
        </p:spPr>
        <p:txBody>
          <a:bodyPr vert="horz" lIns="0" tIns="0" rIns="0" bIns="0" rtlCol="0" anchor="b" anchorCtr="0">
            <a:normAutofit/>
          </a:bodyPr>
          <a:lstStyle/>
          <a:p>
            <a:r>
              <a:rPr lang="de-DE"/>
              <a:t>Mastertitelformat bearbeiten</a:t>
            </a:r>
          </a:p>
        </p:txBody>
      </p:sp>
      <p:sp>
        <p:nvSpPr>
          <p:cNvPr id="12" name="Foliennummernplatzhalter 8">
            <a:extLst>
              <a:ext uri="{FF2B5EF4-FFF2-40B4-BE49-F238E27FC236}">
                <a16:creationId xmlns:a16="http://schemas.microsoft.com/office/drawing/2014/main" id="{0B67A6AA-E5D3-9D41-81F0-2EF39A0A102D}"/>
              </a:ext>
            </a:extLst>
          </p:cNvPr>
          <p:cNvSpPr>
            <a:spLocks noGrp="1"/>
          </p:cNvSpPr>
          <p:nvPr>
            <p:ph type="sldNum" sz="quarter" idx="4"/>
          </p:nvPr>
        </p:nvSpPr>
        <p:spPr>
          <a:xfrm>
            <a:off x="10932717" y="6453338"/>
            <a:ext cx="587283" cy="239633"/>
          </a:xfrm>
          <a:prstGeom prst="rect">
            <a:avLst/>
          </a:prstGeom>
        </p:spPr>
        <p:txBody>
          <a:bodyPr vert="horz" lIns="0" tIns="0" rIns="0" bIns="0" rtlCol="0" anchor="t" anchorCtr="0"/>
          <a:lstStyle>
            <a:lvl1pPr algn="r">
              <a:defRPr lang="de-DE" sz="799" kern="1200" smtClean="0">
                <a:solidFill>
                  <a:schemeClr val="bg1"/>
                </a:solidFill>
                <a:latin typeface="Arial" charset="0"/>
                <a:ea typeface="ヒラギノ角ゴ Pro W3" charset="0"/>
                <a:cs typeface="ヒラギノ角ゴ Pro W3" charset="0"/>
              </a:defRPr>
            </a:lvl1pPr>
          </a:lstStyle>
          <a:p>
            <a:fld id="{18D91C70-5C3D-E148-A360-4F6F11B94339}" type="slidenum">
              <a:rPr lang="de-AT" smtClean="0"/>
              <a:pPr/>
              <a:t>‹#›</a:t>
            </a:fld>
            <a:endParaRPr lang="de-AT"/>
          </a:p>
        </p:txBody>
      </p:sp>
    </p:spTree>
    <p:extLst>
      <p:ext uri="{BB962C8B-B14F-4D97-AF65-F5344CB8AC3E}">
        <p14:creationId xmlns:p14="http://schemas.microsoft.com/office/powerpoint/2010/main" val="34799809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Inhalt">
    <p:spTree>
      <p:nvGrpSpPr>
        <p:cNvPr id="1" name=""/>
        <p:cNvGrpSpPr/>
        <p:nvPr/>
      </p:nvGrpSpPr>
      <p:grpSpPr>
        <a:xfrm>
          <a:off x="0" y="0"/>
          <a:ext cx="0" cy="0"/>
          <a:chOff x="0" y="0"/>
          <a:chExt cx="0" cy="0"/>
        </a:xfrm>
      </p:grpSpPr>
      <p:sp>
        <p:nvSpPr>
          <p:cNvPr id="14" name="Inhaltsplatzhalter 13"/>
          <p:cNvSpPr>
            <a:spLocks noGrp="1"/>
          </p:cNvSpPr>
          <p:nvPr>
            <p:ph sz="quarter" idx="13"/>
          </p:nvPr>
        </p:nvSpPr>
        <p:spPr>
          <a:xfrm>
            <a:off x="672001" y="1363134"/>
            <a:ext cx="10814175" cy="434975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E009EA7B-BB17-5744-90FF-FF51C251E82A}"/>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81D8801-432A-7C4B-A216-EA4D417754F2}"/>
              </a:ext>
            </a:extLst>
          </p:cNvPr>
          <p:cNvSpPr>
            <a:spLocks noGrp="1"/>
          </p:cNvSpPr>
          <p:nvPr>
            <p:ph type="dt" sz="half" idx="14"/>
          </p:nvPr>
        </p:nvSpPr>
        <p:spPr>
          <a:xfrm>
            <a:off x="6098341" y="6468534"/>
            <a:ext cx="1068755" cy="263525"/>
          </a:xfrm>
          <a:prstGeom prst="rect">
            <a:avLst/>
          </a:prstGeom>
        </p:spPr>
        <p:txBody>
          <a:bodyPr/>
          <a:lstStyle/>
          <a:p>
            <a:pPr>
              <a:defRPr/>
            </a:pPr>
            <a:r>
              <a:rPr lang="de-DE"/>
              <a:t>13.04.2023</a:t>
            </a:r>
          </a:p>
        </p:txBody>
      </p:sp>
      <p:sp>
        <p:nvSpPr>
          <p:cNvPr id="7" name="Foliennummernplatzhalter 6">
            <a:extLst>
              <a:ext uri="{FF2B5EF4-FFF2-40B4-BE49-F238E27FC236}">
                <a16:creationId xmlns:a16="http://schemas.microsoft.com/office/drawing/2014/main" id="{21F4E8F3-3227-154D-8511-4A60A13EF969}"/>
              </a:ext>
            </a:extLst>
          </p:cNvPr>
          <p:cNvSpPr>
            <a:spLocks noGrp="1"/>
          </p:cNvSpPr>
          <p:nvPr>
            <p:ph type="sldNum" sz="quarter" idx="15"/>
          </p:nvPr>
        </p:nvSpPr>
        <p:spPr/>
        <p:txBody>
          <a:bodyPr/>
          <a:lstStyle/>
          <a:p>
            <a:pPr>
              <a:defRPr/>
            </a:pPr>
            <a:fld id="{420B1292-A1E7-D14C-97CA-F675562D6730}" type="slidenum">
              <a:rPr lang="de-DE" smtClean="0"/>
              <a:pPr>
                <a:defRPr/>
              </a:pPr>
              <a:t>‹#›</a:t>
            </a:fld>
            <a:endParaRPr lang="de-DE"/>
          </a:p>
        </p:txBody>
      </p:sp>
    </p:spTree>
    <p:extLst>
      <p:ext uri="{BB962C8B-B14F-4D97-AF65-F5344CB8AC3E}">
        <p14:creationId xmlns:p14="http://schemas.microsoft.com/office/powerpoint/2010/main" val="19192248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772876" y="1407937"/>
            <a:ext cx="9767959"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772877" y="234300"/>
            <a:ext cx="9767960" cy="1053089"/>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17717458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latin typeface="Calibri" panose="020F0502020204030204" pitchFamily="34" charset="0"/>
                <a:ea typeface="Calibri" panose="020F0502020204030204" pitchFamily="34" charset="0"/>
                <a:cs typeface="Calibri" panose="020F0502020204030204" pitchFamily="34" charset="0"/>
              </a:defRPr>
            </a:lvl1pPr>
            <a:lvl3pPr marL="914400" indent="0">
              <a:buNone/>
              <a:defRPr/>
            </a:lvl3pPr>
          </a:lstStyle>
          <a:p>
            <a:pPr lvl="0"/>
            <a:r>
              <a:rPr lang="fr-FR"/>
              <a:t>SUR TITRE</a:t>
            </a:r>
            <a:endParaRPr lang="fr-BE"/>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atin typeface="Calibri" panose="020F0502020204030204" pitchFamily="34" charset="0"/>
                <a:ea typeface="Calibri" panose="020F0502020204030204" pitchFamily="34" charset="0"/>
                <a:cs typeface="Calibri" panose="020F0502020204030204" pitchFamily="34" charset="0"/>
              </a:defRPr>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atin typeface="Calibri" panose="020F0502020204030204" pitchFamily="34" charset="0"/>
                <a:ea typeface="Calibri" panose="020F0502020204030204" pitchFamily="34" charset="0"/>
                <a:cs typeface="Calibri" panose="020F0502020204030204" pitchFamily="34" charset="0"/>
              </a:defRPr>
            </a:lvl1pPr>
            <a:lvl2pPr marL="457200" indent="0">
              <a:buNone/>
              <a:defRPr/>
            </a:lvl2pPr>
          </a:lstStyle>
          <a:p>
            <a:pPr lvl="0"/>
            <a:r>
              <a:rPr lang="fr-FR"/>
              <a:t>Cliquez pour modifier les styles du texte du masque</a:t>
            </a:r>
          </a:p>
        </p:txBody>
      </p:sp>
      <p:sp>
        <p:nvSpPr>
          <p:cNvPr id="3" name="Slide Number Placeholder 1">
            <a:extLst>
              <a:ext uri="{FF2B5EF4-FFF2-40B4-BE49-F238E27FC236}">
                <a16:creationId xmlns:a16="http://schemas.microsoft.com/office/drawing/2014/main" id="{D56F2CB4-41F7-C9B4-3F78-552E6B937B30}"/>
              </a:ext>
            </a:extLst>
          </p:cNvPr>
          <p:cNvSpPr>
            <a:spLocks noGrp="1"/>
          </p:cNvSpPr>
          <p:nvPr>
            <p:ph type="sldNum" sz="quarter" idx="14"/>
          </p:nvPr>
        </p:nvSpPr>
        <p:spPr>
          <a:xfrm>
            <a:off x="8610600" y="6356350"/>
            <a:ext cx="2743200" cy="365125"/>
          </a:xfrm>
          <a:prstGeom prst="rect">
            <a:avLst/>
          </a:prstGeom>
        </p:spPr>
        <p:txBody>
          <a:bodyPr/>
          <a:lstStyle>
            <a:lvl1pPr algn="r">
              <a:defRPr sz="1000">
                <a:solidFill>
                  <a:schemeClr val="bg1">
                    <a:lumMod val="65000"/>
                  </a:schemeClr>
                </a:solidFill>
              </a:defRPr>
            </a:lvl1pPr>
          </a:lstStyle>
          <a:p>
            <a:fld id="{6ABB0DC6-0311-9D4C-8333-A8862636E7AD}" type="slidenum">
              <a:rPr lang="en-GB" smtClean="0"/>
              <a:pPr/>
              <a:t>‹#›</a:t>
            </a:fld>
            <a:endParaRPr lang="en-GB"/>
          </a:p>
        </p:txBody>
      </p:sp>
      <p:sp>
        <p:nvSpPr>
          <p:cNvPr id="4" name="Titelplatzhalter 4">
            <a:extLst>
              <a:ext uri="{FF2B5EF4-FFF2-40B4-BE49-F238E27FC236}">
                <a16:creationId xmlns:a16="http://schemas.microsoft.com/office/drawing/2014/main" id="{E215E7E6-4625-4FEB-9E23-5316E22D17DC}"/>
              </a:ext>
            </a:extLst>
          </p:cNvPr>
          <p:cNvSpPr>
            <a:spLocks noGrp="1"/>
          </p:cNvSpPr>
          <p:nvPr>
            <p:ph type="title"/>
          </p:nvPr>
        </p:nvSpPr>
        <p:spPr>
          <a:xfrm>
            <a:off x="1785464" y="177679"/>
            <a:ext cx="9568336" cy="684717"/>
          </a:xfrm>
          <a:prstGeom prst="rect">
            <a:avLst/>
          </a:prstGeom>
        </p:spPr>
        <p:txBody>
          <a:bodyPr vert="horz" lIns="91440" tIns="45720" rIns="91440" bIns="45720" rtlCol="0" anchor="ctr">
            <a:normAutofit/>
          </a:bodyPr>
          <a:lstStyle>
            <a:lvl1pPr>
              <a:defRPr>
                <a:latin typeface="Calibri" panose="020F0502020204030204" pitchFamily="34" charset="0"/>
                <a:ea typeface="Calibri" panose="020F0502020204030204" pitchFamily="34" charset="0"/>
                <a:cs typeface="Calibri" panose="020F0502020204030204" pitchFamily="34" charset="0"/>
              </a:defRPr>
            </a:lvl1pPr>
          </a:lstStyle>
          <a:p>
            <a:r>
              <a:rPr lang="de-DE"/>
              <a:t>Mastertitelformat bearbeiten</a:t>
            </a:r>
            <a:endParaRPr lang="en-US"/>
          </a:p>
        </p:txBody>
      </p:sp>
    </p:spTree>
    <p:extLst>
      <p:ext uri="{BB962C8B-B14F-4D97-AF65-F5344CB8AC3E}">
        <p14:creationId xmlns:p14="http://schemas.microsoft.com/office/powerpoint/2010/main" val="6716823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Diapositive de titre">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E8476ABF-C079-022D-E0CF-A69E87CAE35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33246" y="1399413"/>
            <a:ext cx="11094301" cy="5086441"/>
          </a:xfrm>
          <a:prstGeom prst="rect">
            <a:avLst/>
          </a:prstGeom>
        </p:spPr>
      </p:pic>
      <p:sp>
        <p:nvSpPr>
          <p:cNvPr id="6" name="ZoneTexte 5">
            <a:extLst>
              <a:ext uri="{FF2B5EF4-FFF2-40B4-BE49-F238E27FC236}">
                <a16:creationId xmlns:a16="http://schemas.microsoft.com/office/drawing/2014/main" id="{8B7D6CE7-6EFC-E926-70C1-A527DCE16BE5}"/>
              </a:ext>
            </a:extLst>
          </p:cNvPr>
          <p:cNvSpPr txBox="1"/>
          <p:nvPr userDrawn="1"/>
        </p:nvSpPr>
        <p:spPr>
          <a:xfrm>
            <a:off x="4196972" y="733245"/>
            <a:ext cx="4149305" cy="523221"/>
          </a:xfrm>
          <a:prstGeom prst="rect">
            <a:avLst/>
          </a:prstGeom>
          <a:noFill/>
        </p:spPr>
        <p:txBody>
          <a:bodyPr wrap="square" rtlCol="0">
            <a:spAutoFit/>
          </a:bodyPr>
          <a:lstStyle/>
          <a:p>
            <a:pPr algn="ctr"/>
            <a:r>
              <a:rPr lang="fr-BE" sz="2800" b="1" i="0">
                <a:solidFill>
                  <a:srgbClr val="0C1D3E"/>
                </a:solidFill>
                <a:effectLst/>
                <a:latin typeface="Calibri" panose="020F0502020204030204" pitchFamily="34" charset="0"/>
                <a:ea typeface="Calibri" panose="020F0502020204030204" pitchFamily="34" charset="0"/>
                <a:cs typeface="Calibri" panose="020F0502020204030204" pitchFamily="34" charset="0"/>
              </a:rPr>
              <a:t>Founding Members</a:t>
            </a:r>
            <a:endParaRPr lang="fr-BE" sz="2800" b="1">
              <a:solidFill>
                <a:srgbClr val="0C1D3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379703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High_Title_and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2E6A47D-1E63-43BD-97FB-24C7DA2001F7}"/>
              </a:ext>
            </a:extLst>
          </p:cNvPr>
          <p:cNvSpPr>
            <a:spLocks noGrp="1"/>
          </p:cNvSpPr>
          <p:nvPr>
            <p:ph type="title" hasCustomPrompt="1"/>
          </p:nvPr>
        </p:nvSpPr>
        <p:spPr>
          <a:xfrm>
            <a:off x="1742902" y="224286"/>
            <a:ext cx="7490745" cy="741871"/>
          </a:xfrm>
          <a:prstGeom prst="rect">
            <a:avLst/>
          </a:prstGeom>
        </p:spPr>
        <p:txBody>
          <a:bodyPr/>
          <a:lstStyle>
            <a:lvl1pPr marL="0" indent="0">
              <a:buFont typeface="Arial" panose="020B0604020202020204" pitchFamily="34" charset="0"/>
              <a:buNone/>
              <a:defRPr sz="2400" b="1">
                <a:latin typeface="+mn-lt"/>
              </a:defRPr>
            </a:lvl1pPr>
          </a:lstStyle>
          <a:p>
            <a:r>
              <a:rPr lang="en-GB" noProof="0"/>
              <a:t>Title text block.</a:t>
            </a:r>
          </a:p>
        </p:txBody>
      </p:sp>
      <p:sp>
        <p:nvSpPr>
          <p:cNvPr id="8" name="Espace réservé du texte 17">
            <a:extLst>
              <a:ext uri="{FF2B5EF4-FFF2-40B4-BE49-F238E27FC236}">
                <a16:creationId xmlns:a16="http://schemas.microsoft.com/office/drawing/2014/main" id="{015D2BAE-20F1-48A3-807F-C6F42EE39BE1}"/>
              </a:ext>
            </a:extLst>
          </p:cNvPr>
          <p:cNvSpPr>
            <a:spLocks noGrp="1"/>
          </p:cNvSpPr>
          <p:nvPr>
            <p:ph type="body" sz="quarter" idx="12" hasCustomPrompt="1"/>
          </p:nvPr>
        </p:nvSpPr>
        <p:spPr>
          <a:xfrm>
            <a:off x="758253" y="1086928"/>
            <a:ext cx="11128947" cy="5158597"/>
          </a:xfrm>
          <a:prstGeom prst="rect">
            <a:avLst/>
          </a:prstGeom>
        </p:spPr>
        <p:txBody>
          <a:bodyPr/>
          <a:lstStyle>
            <a:lvl1pPr marL="285750" indent="-285750" algn="l">
              <a:buFont typeface="Arial" panose="020B0604020202020204" pitchFamily="34" charset="0"/>
              <a:buChar char="•"/>
              <a:defRPr sz="2400"/>
            </a:lvl1pPr>
            <a:lvl2pPr marL="800100" indent="-342900">
              <a:buFont typeface="Arial" panose="020B0604020202020204" pitchFamily="34" charset="0"/>
              <a:buChar char="•"/>
              <a:defRPr sz="2000"/>
            </a:lvl2pPr>
            <a:lvl3pPr>
              <a:defRPr sz="1800"/>
            </a:lvl3pPr>
            <a:lvl4pPr>
              <a:defRPr sz="1600"/>
            </a:lvl4pPr>
            <a:lvl5pPr>
              <a:defRPr sz="1600"/>
            </a:lvl5pPr>
          </a:lstStyle>
          <a:p>
            <a:pPr lvl="0"/>
            <a:r>
              <a:rPr lang="en-GB" noProof="0"/>
              <a:t>Lorem ipsum</a:t>
            </a:r>
          </a:p>
          <a:p>
            <a:pPr lvl="1"/>
            <a:r>
              <a:rPr lang="en-GB" noProof="0"/>
              <a:t>Lorem ipsum</a:t>
            </a:r>
          </a:p>
          <a:p>
            <a:pPr lvl="2"/>
            <a:r>
              <a:rPr lang="en-GB" noProof="0"/>
              <a:t>Lorem ipsum</a:t>
            </a:r>
          </a:p>
          <a:p>
            <a:pPr lvl="3"/>
            <a:r>
              <a:rPr lang="en-GB" noProof="0"/>
              <a:t>Lorem ipsum</a:t>
            </a:r>
          </a:p>
          <a:p>
            <a:pPr lvl="4"/>
            <a:r>
              <a:rPr lang="en-GB" noProof="0"/>
              <a:t>Lorem ipsum</a:t>
            </a:r>
          </a:p>
        </p:txBody>
      </p:sp>
      <p:sp>
        <p:nvSpPr>
          <p:cNvPr id="2" name="Foliennummernplatzhalter 1">
            <a:extLst>
              <a:ext uri="{FF2B5EF4-FFF2-40B4-BE49-F238E27FC236}">
                <a16:creationId xmlns:a16="http://schemas.microsoft.com/office/drawing/2014/main" id="{B2AACC19-AAF5-4321-9422-900251135C8B}"/>
              </a:ext>
            </a:extLst>
          </p:cNvPr>
          <p:cNvSpPr>
            <a:spLocks noGrp="1"/>
          </p:cNvSpPr>
          <p:nvPr>
            <p:ph type="sldNum" sz="quarter" idx="13"/>
          </p:nvPr>
        </p:nvSpPr>
        <p:spPr/>
        <p:txBody>
          <a:bodyPr/>
          <a:lstStyle/>
          <a:p>
            <a:fld id="{56536973-A094-468B-8C2D-F0C8F7EA08F5}" type="slidenum">
              <a:rPr lang="en-GB" smtClean="0"/>
              <a:t>‹#›</a:t>
            </a:fld>
            <a:endParaRPr lang="en-GB"/>
          </a:p>
        </p:txBody>
      </p:sp>
      <p:sp>
        <p:nvSpPr>
          <p:cNvPr id="3" name="Slide Number Placeholder 1">
            <a:extLst>
              <a:ext uri="{FF2B5EF4-FFF2-40B4-BE49-F238E27FC236}">
                <a16:creationId xmlns:a16="http://schemas.microsoft.com/office/drawing/2014/main" id="{3187ADBE-FC66-6DB5-4773-CA8E37BA30B3}"/>
              </a:ext>
            </a:extLst>
          </p:cNvPr>
          <p:cNvSpPr txBox="1">
            <a:spLocks/>
          </p:cNvSpPr>
          <p:nvPr userDrawn="1"/>
        </p:nvSpPr>
        <p:spPr>
          <a:xfrm>
            <a:off x="8610600" y="6356350"/>
            <a:ext cx="2743200" cy="365125"/>
          </a:xfrm>
          <a:prstGeom prst="rect">
            <a:avLst/>
          </a:prstGeom>
        </p:spPr>
        <p:txBody>
          <a:bodyPr/>
          <a:lstStyle>
            <a:defPPr>
              <a:defRPr lang="fr-FR"/>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BB0DC6-0311-9D4C-8333-A8862636E7AD}" type="slidenum">
              <a:rPr lang="en-GB" smtClean="0"/>
              <a:pPr/>
              <a:t>‹#›</a:t>
            </a:fld>
            <a:endParaRPr lang="en-GB"/>
          </a:p>
        </p:txBody>
      </p:sp>
    </p:spTree>
    <p:extLst>
      <p:ext uri="{BB962C8B-B14F-4D97-AF65-F5344CB8AC3E}">
        <p14:creationId xmlns:p14="http://schemas.microsoft.com/office/powerpoint/2010/main" val="19530331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Main template_Title&amp;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28618D-6FBD-AD4F-8D43-E09890CBEF3D}"/>
              </a:ext>
            </a:extLst>
          </p:cNvPr>
          <p:cNvSpPr>
            <a:spLocks noGrp="1"/>
          </p:cNvSpPr>
          <p:nvPr>
            <p:ph type="title" hasCustomPrompt="1"/>
          </p:nvPr>
        </p:nvSpPr>
        <p:spPr/>
        <p:txBody>
          <a:bodyPr/>
          <a:lstStyle/>
          <a:p>
            <a:r>
              <a:rPr lang="fr-FR"/>
              <a:t>LOREM IPSUM</a:t>
            </a:r>
            <a:endParaRPr lang="en-GB"/>
          </a:p>
        </p:txBody>
      </p:sp>
      <p:sp>
        <p:nvSpPr>
          <p:cNvPr id="3" name="Espace réservé du contenu 2">
            <a:extLst>
              <a:ext uri="{FF2B5EF4-FFF2-40B4-BE49-F238E27FC236}">
                <a16:creationId xmlns:a16="http://schemas.microsoft.com/office/drawing/2014/main" id="{EBE44464-339C-4640-A68F-AD5FAC0DB85D}"/>
              </a:ext>
            </a:extLst>
          </p:cNvPr>
          <p:cNvSpPr>
            <a:spLocks noGrp="1"/>
          </p:cNvSpPr>
          <p:nvPr>
            <p:ph idx="1" hasCustomPrompt="1"/>
          </p:nvPr>
        </p:nvSpPr>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278A20ED-7568-AC40-8952-FE2ACB258D44}"/>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C4500258-EA4E-8244-8D0A-94550C2F7CA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F6F189-3884-AB4B-A72D-2202C1429E1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8380089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ent slide blank">
    <p:spTree>
      <p:nvGrpSpPr>
        <p:cNvPr id="1" name=""/>
        <p:cNvGrpSpPr/>
        <p:nvPr/>
      </p:nvGrpSpPr>
      <p:grpSpPr>
        <a:xfrm>
          <a:off x="0" y="0"/>
          <a:ext cx="0" cy="0"/>
          <a:chOff x="0" y="0"/>
          <a:chExt cx="0" cy="0"/>
        </a:xfrm>
      </p:grpSpPr>
      <p:sp>
        <p:nvSpPr>
          <p:cNvPr id="4" name="Rectangle 3"/>
          <p:cNvSpPr>
            <a:spLocks noChangeArrowheads="1"/>
          </p:cNvSpPr>
          <p:nvPr/>
        </p:nvSpPr>
        <p:spPr bwMode="auto">
          <a:xfrm>
            <a:off x="1828562" y="6581776"/>
            <a:ext cx="8299344"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1725" tIns="60862" rIns="121725" bIns="60862">
            <a:spAutoFit/>
          </a:bodyPr>
          <a:lstStyle/>
          <a:p>
            <a:pPr algn="ctr"/>
            <a:r>
              <a:rPr lang="en-US" sz="1000">
                <a:solidFill>
                  <a:srgbClr val="505150"/>
                </a:solidFill>
                <a:cs typeface="Calibri" charset="0"/>
              </a:rPr>
              <a:t>Confidential &amp; Proprietary</a:t>
            </a:r>
            <a:endParaRPr lang="fr-FR" sz="1000">
              <a:solidFill>
                <a:srgbClr val="505150"/>
              </a:solidFill>
            </a:endParaRPr>
          </a:p>
        </p:txBody>
      </p:sp>
      <p:pic>
        <p:nvPicPr>
          <p:cNvPr id="5" name="Picture 1" descr="Wabtec_logo.pdf"/>
          <p:cNvPicPr>
            <a:picLocks noChangeAspect="1"/>
          </p:cNvPicPr>
          <p:nvPr/>
        </p:nvPicPr>
        <p:blipFill>
          <a:blip r:embed="rId2" cstate="screen">
            <a:extLst>
              <a:ext uri="{28A0092B-C50C-407E-A947-70E740481C1C}">
                <a14:useLocalDpi xmlns:a14="http://schemas.microsoft.com/office/drawing/2010/main" val="0"/>
              </a:ext>
            </a:extLst>
          </a:blip>
          <a:srcRect l="17250" t="13441" r="-1193" b="65245"/>
          <a:stretch>
            <a:fillRect/>
          </a:stretch>
        </p:blipFill>
        <p:spPr bwMode="auto">
          <a:xfrm>
            <a:off x="447195" y="6299200"/>
            <a:ext cx="1567565"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Page number"/>
          <p:cNvSpPr txBox="1">
            <a:spLocks/>
          </p:cNvSpPr>
          <p:nvPr/>
        </p:nvSpPr>
        <p:spPr>
          <a:xfrm>
            <a:off x="10879064" y="6535739"/>
            <a:ext cx="712964" cy="153987"/>
          </a:xfrm>
          <a:prstGeom prst="rect">
            <a:avLst/>
          </a:prstGeom>
          <a:noFill/>
          <a:ln>
            <a:noFill/>
          </a:ln>
          <a:effectLst/>
        </p:spPr>
        <p:style>
          <a:lnRef idx="1">
            <a:schemeClr val="dk1"/>
          </a:lnRef>
          <a:fillRef idx="2">
            <a:schemeClr val="dk1"/>
          </a:fillRef>
          <a:effectRef idx="1">
            <a:schemeClr val="dk1"/>
          </a:effectRef>
          <a:fontRef idx="minor">
            <a:schemeClr val="dk1"/>
          </a:fontRef>
        </p:style>
        <p:txBody>
          <a:bodyPr lIns="0" tIns="0" rIns="0" bIns="0">
            <a:spAutoFit/>
          </a:bodyPr>
          <a:lstStyle/>
          <a:p>
            <a:pPr algn="r" defTabSz="1217249" fontAlgn="auto">
              <a:spcBef>
                <a:spcPts val="0"/>
              </a:spcBef>
              <a:spcAft>
                <a:spcPts val="0"/>
              </a:spcAft>
              <a:buFont typeface="Arial" pitchFamily="34" charset="0"/>
              <a:buNone/>
              <a:defRPr/>
            </a:pPr>
            <a:fld id="{F171574E-8CE2-3540-B51F-7B17F34DC495}" type="slidenum">
              <a:rPr lang="en-GB" sz="1000">
                <a:solidFill>
                  <a:srgbClr val="7F7F7F"/>
                </a:solidFill>
                <a:latin typeface="Tahoma"/>
                <a:cs typeface="Tahoma"/>
              </a:rPr>
              <a:pPr algn="r" defTabSz="1217249" fontAlgn="auto">
                <a:spcBef>
                  <a:spcPts val="0"/>
                </a:spcBef>
                <a:spcAft>
                  <a:spcPts val="0"/>
                </a:spcAft>
                <a:buFont typeface="Arial" pitchFamily="34" charset="0"/>
                <a:buNone/>
                <a:defRPr/>
              </a:pPr>
              <a:t>‹#›</a:t>
            </a:fld>
            <a:endParaRPr lang="en-GB" sz="1100">
              <a:solidFill>
                <a:srgbClr val="FF0000"/>
              </a:solidFill>
              <a:latin typeface="Tahoma"/>
              <a:cs typeface="Tahoma"/>
            </a:endParaRPr>
          </a:p>
        </p:txBody>
      </p:sp>
      <p:sp>
        <p:nvSpPr>
          <p:cNvPr id="30" name="Title"/>
          <p:cNvSpPr>
            <a:spLocks noGrp="1"/>
          </p:cNvSpPr>
          <p:nvPr>
            <p:ph type="title"/>
          </p:nvPr>
        </p:nvSpPr>
        <p:spPr>
          <a:xfrm>
            <a:off x="507870" y="0"/>
            <a:ext cx="11763028" cy="815354"/>
          </a:xfrm>
          <a:prstGeom prst="rect">
            <a:avLst/>
          </a:prstGeom>
        </p:spPr>
        <p:txBody>
          <a:bodyPr lIns="121725" tIns="60862" rIns="121725" bIns="60862" anchor="b" anchorCtr="0"/>
          <a:lstStyle>
            <a:lvl1pPr marL="0" indent="0" algn="l">
              <a:defRPr sz="3600" b="1" i="0" cap="none" spc="-100" baseline="0">
                <a:solidFill>
                  <a:schemeClr val="tx1"/>
                </a:solidFill>
                <a:latin typeface="Arial"/>
                <a:cs typeface="Arial"/>
              </a:defRPr>
            </a:lvl1pPr>
          </a:lstStyle>
          <a:p>
            <a:r>
              <a:rPr lang="en-US" noProof="0"/>
              <a:t>Click to edit Master title style</a:t>
            </a:r>
          </a:p>
        </p:txBody>
      </p:sp>
      <p:sp>
        <p:nvSpPr>
          <p:cNvPr id="31" name="Subtitle"/>
          <p:cNvSpPr>
            <a:spLocks noGrp="1"/>
          </p:cNvSpPr>
          <p:nvPr>
            <p:ph type="body" sz="quarter" idx="12"/>
          </p:nvPr>
        </p:nvSpPr>
        <p:spPr>
          <a:xfrm>
            <a:off x="507870" y="680979"/>
            <a:ext cx="11295133" cy="270000"/>
          </a:xfrm>
          <a:prstGeom prst="rect">
            <a:avLst/>
          </a:prstGeom>
        </p:spPr>
        <p:txBody>
          <a:bodyPr lIns="121725" tIns="60862" rIns="121725" bIns="60862"/>
          <a:lstStyle>
            <a:lvl1pPr marL="0" indent="0">
              <a:buFontTx/>
              <a:buNone/>
              <a:defRPr sz="1900" i="0" spc="200" baseline="0">
                <a:solidFill>
                  <a:srgbClr val="505150"/>
                </a:solidFill>
                <a:latin typeface="Arial"/>
                <a:cs typeface="Arial"/>
              </a:defRPr>
            </a:lvl1pPr>
            <a:lvl2pPr>
              <a:buFontTx/>
              <a:buNone/>
              <a:defRPr sz="1900" i="1" baseline="0">
                <a:latin typeface="Arial" pitchFamily="34" charset="0"/>
                <a:cs typeface="Arial" pitchFamily="34" charset="0"/>
              </a:defRPr>
            </a:lvl2pPr>
            <a:lvl3pPr>
              <a:buFontTx/>
              <a:buNone/>
              <a:defRPr sz="1900" i="1" baseline="0">
                <a:latin typeface="Arial" pitchFamily="34" charset="0"/>
                <a:cs typeface="Arial" pitchFamily="34" charset="0"/>
              </a:defRPr>
            </a:lvl3pPr>
            <a:lvl4pPr>
              <a:buFontTx/>
              <a:buNone/>
              <a:defRPr sz="1900" i="1" baseline="0">
                <a:latin typeface="Arial" pitchFamily="34" charset="0"/>
                <a:cs typeface="Arial" pitchFamily="34" charset="0"/>
              </a:defRPr>
            </a:lvl4pPr>
            <a:lvl5pPr>
              <a:buFontTx/>
              <a:buNone/>
              <a:defRPr sz="1900" i="1" baseline="0">
                <a:latin typeface="Arial" pitchFamily="34" charset="0"/>
                <a:cs typeface="Arial" pitchFamily="34" charset="0"/>
              </a:defRPr>
            </a:lvl5pPr>
          </a:lstStyle>
          <a:p>
            <a:pPr lvl="0"/>
            <a:r>
              <a:rPr lang="en-US" noProof="0"/>
              <a:t>Edit Master text styles</a:t>
            </a:r>
          </a:p>
        </p:txBody>
      </p:sp>
    </p:spTree>
    <p:extLst>
      <p:ext uri="{BB962C8B-B14F-4D97-AF65-F5344CB8AC3E}">
        <p14:creationId xmlns:p14="http://schemas.microsoft.com/office/powerpoint/2010/main" val="25071346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EF23CBA-A505-4C84-0A9B-5E5B8C627E5A}"/>
              </a:ext>
            </a:extLst>
          </p:cNvPr>
          <p:cNvGraphicFramePr>
            <a:graphicFrameLocks noChangeAspect="1"/>
          </p:cNvGraphicFramePr>
          <p:nvPr userDrawn="1">
            <p:custDataLst>
              <p:tags r:id="rId1"/>
            </p:custDataLst>
            <p:extLst>
              <p:ext uri="{D42A27DB-BD31-4B8C-83A1-F6EECF244321}">
                <p14:modId xmlns:p14="http://schemas.microsoft.com/office/powerpoint/2010/main" val="883652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4" name="think-cell data - do not delete" hidden="1">
                        <a:extLst>
                          <a:ext uri="{FF2B5EF4-FFF2-40B4-BE49-F238E27FC236}">
                            <a16:creationId xmlns:a16="http://schemas.microsoft.com/office/drawing/2014/main" id="{DEF23CBA-A505-4C84-0A9B-5E5B8C627E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4">
            <a:extLst>
              <a:ext uri="{FF2B5EF4-FFF2-40B4-BE49-F238E27FC236}">
                <a16:creationId xmlns:a16="http://schemas.microsoft.com/office/drawing/2014/main" id="{D4F51AFA-B445-77F2-D5A8-19BD741D04BF}"/>
              </a:ext>
            </a:extLst>
          </p:cNvPr>
          <p:cNvSpPr>
            <a:spLocks noGrp="1"/>
          </p:cNvSpPr>
          <p:nvPr>
            <p:ph type="title" hasCustomPrompt="1"/>
          </p:nvPr>
        </p:nvSpPr>
        <p:spPr>
          <a:xfrm>
            <a:off x="1908698" y="365125"/>
            <a:ext cx="9445101" cy="655807"/>
          </a:xfrm>
          <a:prstGeom prst="rect">
            <a:avLst/>
          </a:prstGeom>
        </p:spPr>
        <p:txBody>
          <a:bodyPr vert="horz"/>
          <a:lstStyle>
            <a:lvl1pPr rtl="0">
              <a:defRPr/>
            </a:lvl1pPr>
          </a:lstStyle>
          <a:p>
            <a:r>
              <a:rPr kumimoji="0" lang="en-GB" sz="2400" b="1" i="0" u="none" strike="noStrike" kern="1200" cap="none" spc="0" normalizeH="0" baseline="0" noProof="0">
                <a:ln>
                  <a:noFill/>
                </a:ln>
                <a:solidFill>
                  <a:srgbClr val="1B4A69"/>
                </a:solidFill>
                <a:effectLst/>
                <a:uLnTx/>
                <a:uFillTx/>
                <a:latin typeface="Calibri" panose="020F0502020204030204"/>
                <a:ea typeface="+mj-ea"/>
                <a:cs typeface="Arial" panose="020B0604020202020204" pitchFamily="34" charset="0"/>
              </a:rPr>
              <a:t>…</a:t>
            </a:r>
            <a:endParaRPr lang="en-GB" noProof="0"/>
          </a:p>
        </p:txBody>
      </p:sp>
      <p:sp>
        <p:nvSpPr>
          <p:cNvPr id="2" name="Foliennummernplatzhalter 8">
            <a:extLst>
              <a:ext uri="{FF2B5EF4-FFF2-40B4-BE49-F238E27FC236}">
                <a16:creationId xmlns:a16="http://schemas.microsoft.com/office/drawing/2014/main" id="{0D9CFF4F-4D5D-272E-30BA-531114A4BA2F}"/>
              </a:ext>
            </a:extLst>
          </p:cNvPr>
          <p:cNvSpPr>
            <a:spLocks noGrp="1"/>
          </p:cNvSpPr>
          <p:nvPr>
            <p:ph type="sldNum" sz="quarter" idx="4"/>
          </p:nvPr>
        </p:nvSpPr>
        <p:spPr>
          <a:xfrm>
            <a:off x="10932718" y="6453337"/>
            <a:ext cx="587282" cy="239633"/>
          </a:xfrm>
          <a:prstGeom prst="rect">
            <a:avLst/>
          </a:prstGeom>
        </p:spPr>
        <p:txBody>
          <a:bodyPr vert="horz" lIns="0" tIns="0" rIns="0" bIns="0" rtlCol="0" anchor="t" anchorCtr="0"/>
          <a:lstStyle>
            <a:lvl1pPr algn="r">
              <a:defRPr lang="de-DE" sz="799" kern="1200" smtClean="0">
                <a:solidFill>
                  <a:schemeClr val="bg1"/>
                </a:solidFill>
                <a:latin typeface="Arial" charset="0"/>
                <a:ea typeface="ヒラギノ角ゴ Pro W3" charset="0"/>
                <a:cs typeface="ヒラギノ角ゴ Pro W3" charset="0"/>
              </a:defRPr>
            </a:lvl1pPr>
          </a:lstStyle>
          <a:p>
            <a:fld id="{18D91C70-5C3D-E148-A360-4F6F11B94339}" type="slidenum">
              <a:rPr lang="de-AT" smtClean="0"/>
              <a:pPr/>
              <a:t>‹#›</a:t>
            </a:fld>
            <a:r>
              <a:rPr lang="de-AT"/>
              <a:t>#</a:t>
            </a:r>
          </a:p>
        </p:txBody>
      </p:sp>
    </p:spTree>
    <p:extLst>
      <p:ext uri="{BB962C8B-B14F-4D97-AF65-F5344CB8AC3E}">
        <p14:creationId xmlns:p14="http://schemas.microsoft.com/office/powerpoint/2010/main" val="10705108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One_content">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772876" y="879074"/>
            <a:ext cx="9767959" cy="230910"/>
          </a:xfrm>
          <a:prstGeom prst="rect">
            <a:avLst/>
          </a:prstGeom>
        </p:spPr>
        <p:txBody>
          <a:bodyPr/>
          <a:lstStyle>
            <a:lvl1pPr marL="0" indent="0" algn="l">
              <a:buNone/>
              <a:defRPr sz="1600" b="1">
                <a:solidFill>
                  <a:srgbClr val="02C39A"/>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772878" y="234300"/>
            <a:ext cx="7209758" cy="500806"/>
          </a:xfrm>
          <a:prstGeom prst="rect">
            <a:avLst/>
          </a:prstGeom>
        </p:spPr>
        <p:txBody>
          <a:bodyPr/>
          <a:lstStyle>
            <a:lvl1pPr marL="0" indent="0" algn="l">
              <a:buNone/>
              <a:defRPr sz="3200" b="1">
                <a:latin typeface="+mj-lt"/>
              </a:defRPr>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772875" y="1880844"/>
            <a:ext cx="9767960" cy="3982628"/>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2" name="Foliennummernplatzhalter 1">
            <a:extLst>
              <a:ext uri="{FF2B5EF4-FFF2-40B4-BE49-F238E27FC236}">
                <a16:creationId xmlns:a16="http://schemas.microsoft.com/office/drawing/2014/main" id="{CE2D20F8-95C3-30F3-5C72-0410993735C8}"/>
              </a:ext>
            </a:extLst>
          </p:cNvPr>
          <p:cNvSpPr>
            <a:spLocks noGrp="1"/>
          </p:cNvSpPr>
          <p:nvPr>
            <p:ph type="sldNum" sz="quarter" idx="13"/>
          </p:nvPr>
        </p:nvSpPr>
        <p:spPr/>
        <p:txBody>
          <a:bodyPr/>
          <a:lstStyle/>
          <a:p>
            <a:fld id="{71AD1544-96AF-452C-A8FA-5D7DEC9372CE}" type="slidenum">
              <a:rPr lang="de-DE" smtClean="0"/>
              <a:pPr/>
              <a:t>‹#›</a:t>
            </a:fld>
            <a:endParaRPr lang="de-DE"/>
          </a:p>
        </p:txBody>
      </p:sp>
    </p:spTree>
    <p:extLst>
      <p:ext uri="{BB962C8B-B14F-4D97-AF65-F5344CB8AC3E}">
        <p14:creationId xmlns:p14="http://schemas.microsoft.com/office/powerpoint/2010/main" val="22655045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6F1F21-D9AA-203F-09FC-FA170E5B0E87}"/>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5940647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Leere Seite">
    <p:spTree>
      <p:nvGrpSpPr>
        <p:cNvPr id="1" name=""/>
        <p:cNvGrpSpPr/>
        <p:nvPr/>
      </p:nvGrpSpPr>
      <p:grpSpPr>
        <a:xfrm>
          <a:off x="0" y="0"/>
          <a:ext cx="0" cy="0"/>
          <a:chOff x="0" y="0"/>
          <a:chExt cx="0" cy="0"/>
        </a:xfrm>
      </p:grpSpPr>
      <p:sp>
        <p:nvSpPr>
          <p:cNvPr id="2" name="Titelplatzhalter 4">
            <a:extLst>
              <a:ext uri="{FF2B5EF4-FFF2-40B4-BE49-F238E27FC236}">
                <a16:creationId xmlns:a16="http://schemas.microsoft.com/office/drawing/2014/main" id="{3CFB7D43-5204-97A2-2F54-D6AB17306D8F}"/>
              </a:ext>
            </a:extLst>
          </p:cNvPr>
          <p:cNvSpPr>
            <a:spLocks noGrp="1"/>
          </p:cNvSpPr>
          <p:nvPr>
            <p:ph type="title"/>
          </p:nvPr>
        </p:nvSpPr>
        <p:spPr>
          <a:xfrm>
            <a:off x="1785464" y="177679"/>
            <a:ext cx="9568336" cy="684717"/>
          </a:xfrm>
          <a:prstGeom prst="rect">
            <a:avLst/>
          </a:prstGeom>
        </p:spPr>
        <p:txBody>
          <a:bodyPr vert="horz" lIns="91440" tIns="45720" rIns="91440" bIns="45720" rtlCol="0" anchor="ctr">
            <a:normAutofit/>
          </a:bodyPr>
          <a:lstStyle>
            <a:lvl1pPr>
              <a:defRPr>
                <a:latin typeface="Calibri" panose="020F0502020204030204" pitchFamily="34" charset="0"/>
                <a:ea typeface="Calibri" panose="020F0502020204030204" pitchFamily="34" charset="0"/>
                <a:cs typeface="Calibri" panose="020F0502020204030204" pitchFamily="34" charset="0"/>
              </a:defRPr>
            </a:lvl1pPr>
          </a:lstStyle>
          <a:p>
            <a:r>
              <a:rPr lang="de-DE"/>
              <a:t>Mastertitelformat bearbeiten</a:t>
            </a:r>
            <a:endParaRPr lang="en-US"/>
          </a:p>
        </p:txBody>
      </p:sp>
      <p:sp>
        <p:nvSpPr>
          <p:cNvPr id="3" name="Slide Number Placeholder 1">
            <a:extLst>
              <a:ext uri="{FF2B5EF4-FFF2-40B4-BE49-F238E27FC236}">
                <a16:creationId xmlns:a16="http://schemas.microsoft.com/office/drawing/2014/main" id="{68982BA5-B228-F87B-3B1D-E0CCB33BF820}"/>
              </a:ext>
            </a:extLst>
          </p:cNvPr>
          <p:cNvSpPr>
            <a:spLocks noGrp="1"/>
          </p:cNvSpPr>
          <p:nvPr>
            <p:ph type="sldNum" sz="quarter" idx="14"/>
          </p:nvPr>
        </p:nvSpPr>
        <p:spPr>
          <a:xfrm>
            <a:off x="8610600" y="6356350"/>
            <a:ext cx="2743200" cy="365125"/>
          </a:xfrm>
          <a:prstGeom prst="rect">
            <a:avLst/>
          </a:prstGeom>
        </p:spPr>
        <p:txBody>
          <a:bodyPr/>
          <a:lstStyle>
            <a:lvl1pPr algn="r">
              <a:defRPr sz="1000">
                <a:solidFill>
                  <a:schemeClr val="bg1">
                    <a:lumMod val="65000"/>
                  </a:schemeClr>
                </a:solidFill>
              </a:defRPr>
            </a:lvl1pPr>
          </a:lstStyle>
          <a:p>
            <a:fld id="{6ABB0DC6-0311-9D4C-8333-A8862636E7AD}" type="slidenum">
              <a:rPr lang="en-GB" smtClean="0"/>
              <a:pPr/>
              <a:t>‹#›</a:t>
            </a:fld>
            <a:endParaRPr lang="en-GB"/>
          </a:p>
        </p:txBody>
      </p:sp>
    </p:spTree>
    <p:extLst>
      <p:ext uri="{BB962C8B-B14F-4D97-AF65-F5344CB8AC3E}">
        <p14:creationId xmlns:p14="http://schemas.microsoft.com/office/powerpoint/2010/main" val="6156830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6484937" cy="1053089"/>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28115863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2853532" y="2012951"/>
            <a:ext cx="6484936" cy="490105"/>
          </a:xfrm>
          <a:prstGeom prst="rect">
            <a:avLst/>
          </a:prstGeom>
        </p:spPr>
        <p:txBody>
          <a:bodyPr/>
          <a:lstStyle>
            <a:lvl1pPr marL="0" indent="0" algn="ctr">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p:nvPr>
        </p:nvSpPr>
        <p:spPr>
          <a:xfrm>
            <a:off x="2853532" y="2669166"/>
            <a:ext cx="6484937" cy="1053089"/>
          </a:xfrm>
          <a:prstGeom prst="rect">
            <a:avLst/>
          </a:prstGeom>
        </p:spPr>
        <p:txBody>
          <a:bodyPr/>
          <a:lstStyle>
            <a:lvl1pPr marL="0" indent="0" algn="ctr">
              <a:buNone/>
              <a:defRPr sz="3200" b="1"/>
            </a:lvl1pPr>
          </a:lstStyle>
          <a:p>
            <a:pPr lvl="0"/>
            <a:r>
              <a:rPr lang="en-US"/>
              <a:t>Click to edit Master text styles</a:t>
            </a:r>
          </a:p>
        </p:txBody>
      </p:sp>
      <p:pic>
        <p:nvPicPr>
          <p:cNvPr id="5" name="Graphique 4">
            <a:extLst>
              <a:ext uri="{FF2B5EF4-FFF2-40B4-BE49-F238E27FC236}">
                <a16:creationId xmlns:a16="http://schemas.microsoft.com/office/drawing/2014/main" id="{609E2CDF-E1F6-D747-961F-776563001E1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472448" y="628869"/>
            <a:ext cx="1247103" cy="942109"/>
          </a:xfrm>
          <a:prstGeom prst="rect">
            <a:avLst/>
          </a:prstGeom>
        </p:spPr>
      </p:pic>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2853531" y="4008438"/>
            <a:ext cx="6484937" cy="1625600"/>
          </a:xfrm>
          <a:prstGeom prst="rect">
            <a:avLst/>
          </a:prstGeom>
        </p:spPr>
        <p:txBody>
          <a:bodyPr/>
          <a:lstStyle>
            <a:lvl1pPr marL="0" indent="0" algn="ctr">
              <a:buNone/>
              <a:defRPr sz="1800"/>
            </a:lvl1pPr>
            <a:lvl2pPr marL="457200" indent="0">
              <a:buNone/>
              <a:defRPr/>
            </a:lvl2pPr>
          </a:lstStyle>
          <a:p>
            <a:pPr lvl="0"/>
            <a:r>
              <a:rPr lang="en-US"/>
              <a:t>Click to edit Master text styles</a:t>
            </a:r>
          </a:p>
        </p:txBody>
      </p:sp>
      <p:pic>
        <p:nvPicPr>
          <p:cNvPr id="2" name="Graphique 4">
            <a:extLst>
              <a:ext uri="{FF2B5EF4-FFF2-40B4-BE49-F238E27FC236}">
                <a16:creationId xmlns:a16="http://schemas.microsoft.com/office/drawing/2014/main" id="{6B96A889-B089-F761-2A8B-606052A212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472448" y="628869"/>
            <a:ext cx="1247103" cy="942109"/>
          </a:xfrm>
          <a:prstGeom prst="rect">
            <a:avLst/>
          </a:prstGeom>
        </p:spPr>
      </p:pic>
    </p:spTree>
    <p:extLst>
      <p:ext uri="{BB962C8B-B14F-4D97-AF65-F5344CB8AC3E}">
        <p14:creationId xmlns:p14="http://schemas.microsoft.com/office/powerpoint/2010/main" val="34786612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2853532" y="2400878"/>
            <a:ext cx="6484936" cy="490105"/>
          </a:xfrm>
          <a:prstGeom prst="rect">
            <a:avLst/>
          </a:prstGeom>
        </p:spPr>
        <p:txBody>
          <a:bodyPr/>
          <a:lstStyle>
            <a:lvl1pPr marL="0" indent="0" algn="ctr">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p:nvPr>
        </p:nvSpPr>
        <p:spPr>
          <a:xfrm>
            <a:off x="2853532" y="3057093"/>
            <a:ext cx="6484937" cy="1053089"/>
          </a:xfrm>
          <a:prstGeom prst="rect">
            <a:avLst/>
          </a:prstGeom>
        </p:spPr>
        <p:txBody>
          <a:bodyPr/>
          <a:lstStyle>
            <a:lvl1pPr marL="0" indent="0" algn="ctr">
              <a:buNone/>
              <a:defRPr sz="3200" b="1"/>
            </a:lvl1pPr>
          </a:lstStyle>
          <a:p>
            <a:pPr lvl="0"/>
            <a:r>
              <a:rPr lang="en-US"/>
              <a:t>Click to edit Master text styles</a:t>
            </a:r>
          </a:p>
        </p:txBody>
      </p:sp>
    </p:spTree>
    <p:extLst>
      <p:ext uri="{BB962C8B-B14F-4D97-AF65-F5344CB8AC3E}">
        <p14:creationId xmlns:p14="http://schemas.microsoft.com/office/powerpoint/2010/main" val="6063069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Diapositive de titre">
    <p:spTree>
      <p:nvGrpSpPr>
        <p:cNvPr id="1" name=""/>
        <p:cNvGrpSpPr/>
        <p:nvPr/>
      </p:nvGrpSpPr>
      <p:grpSpPr>
        <a:xfrm>
          <a:off x="0" y="0"/>
          <a:ext cx="0" cy="0"/>
          <a:chOff x="0" y="0"/>
          <a:chExt cx="0" cy="0"/>
        </a:xfrm>
      </p:grpSpPr>
      <p:pic>
        <p:nvPicPr>
          <p:cNvPr id="7" name="Graphique 6">
            <a:extLst>
              <a:ext uri="{FF2B5EF4-FFF2-40B4-BE49-F238E27FC236}">
                <a16:creationId xmlns:a16="http://schemas.microsoft.com/office/drawing/2014/main" id="{9AC10A1A-3190-8676-8789-7E83ABECECA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412467" y="628869"/>
            <a:ext cx="1367066" cy="1032733"/>
          </a:xfrm>
          <a:prstGeom prst="rect">
            <a:avLst/>
          </a:prstGeom>
        </p:spPr>
      </p:pic>
      <p:sp>
        <p:nvSpPr>
          <p:cNvPr id="8" name="ZoneTexte 7">
            <a:extLst>
              <a:ext uri="{FF2B5EF4-FFF2-40B4-BE49-F238E27FC236}">
                <a16:creationId xmlns:a16="http://schemas.microsoft.com/office/drawing/2014/main" id="{F76E6324-C7D7-B674-8A52-6296967F9645}"/>
              </a:ext>
            </a:extLst>
          </p:cNvPr>
          <p:cNvSpPr txBox="1"/>
          <p:nvPr/>
        </p:nvSpPr>
        <p:spPr>
          <a:xfrm>
            <a:off x="4311213" y="3030100"/>
            <a:ext cx="3569574" cy="923330"/>
          </a:xfrm>
          <a:prstGeom prst="rect">
            <a:avLst/>
          </a:prstGeom>
          <a:noFill/>
        </p:spPr>
        <p:txBody>
          <a:bodyPr wrap="square" rtlCol="0">
            <a:spAutoFit/>
          </a:bodyPr>
          <a:lstStyle/>
          <a:p>
            <a:pPr algn="ctr"/>
            <a:r>
              <a:rPr lang="en-US">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White Atrium Building, 2nd Floor </a:t>
            </a:r>
          </a:p>
          <a:p>
            <a:pPr algn="ctr"/>
            <a:r>
              <a:rPr lang="en-US">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Avenue de la </a:t>
            </a:r>
            <a:r>
              <a:rPr lang="en-US" err="1">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Toison</a:t>
            </a:r>
            <a:r>
              <a:rPr lang="en-US">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 d’Or 56-60</a:t>
            </a:r>
          </a:p>
          <a:p>
            <a:pPr algn="ctr"/>
            <a:r>
              <a:rPr lang="en-US">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B1060, Brussels - Belgium</a:t>
            </a:r>
            <a:endParaRPr lang="fr-BE">
              <a:latin typeface="Arial" panose="020B0604020202020204" pitchFamily="34" charset="0"/>
              <a:cs typeface="Arial" panose="020B0604020202020204" pitchFamily="34" charset="0"/>
            </a:endParaRPr>
          </a:p>
        </p:txBody>
      </p:sp>
      <p:sp>
        <p:nvSpPr>
          <p:cNvPr id="9" name="ZoneTexte 8">
            <a:extLst>
              <a:ext uri="{FF2B5EF4-FFF2-40B4-BE49-F238E27FC236}">
                <a16:creationId xmlns:a16="http://schemas.microsoft.com/office/drawing/2014/main" id="{27B3DEF0-2B1B-7580-0336-A80F3ED589BE}"/>
              </a:ext>
            </a:extLst>
          </p:cNvPr>
          <p:cNvSpPr txBox="1"/>
          <p:nvPr/>
        </p:nvSpPr>
        <p:spPr>
          <a:xfrm>
            <a:off x="4311213" y="4117560"/>
            <a:ext cx="3569574" cy="369332"/>
          </a:xfrm>
          <a:prstGeom prst="rect">
            <a:avLst/>
          </a:prstGeom>
          <a:noFill/>
        </p:spPr>
        <p:txBody>
          <a:bodyPr wrap="square" rtlCol="0">
            <a:spAutoFit/>
          </a:bodyPr>
          <a:lstStyle/>
          <a:p>
            <a:pPr algn="ctr"/>
            <a:r>
              <a:rPr lang="fr-BE" b="0" i="0">
                <a:effectLst/>
                <a:latin typeface="Arial" panose="020B0604020202020204" pitchFamily="34" charset="0"/>
                <a:hlinkClick r:id="rId4" tooltip="Cliquez pour ouvrir une nouvelle fenêtre ou onglet&#10;https://eur06.safelinks.protection.outlook.com/?url=http%3A%2F%2Fwww.rail-research.europa.eu%2F&amp;data=05%7C01%7C%7C6a04a5d6bd9d4e4fb10808da29def965..."/>
              </a:rPr>
              <a:t>www.rail-research.europa.eu</a:t>
            </a:r>
            <a:endParaRPr lang="fr-BE">
              <a:latin typeface="Arial" panose="020B0604020202020204" pitchFamily="34" charset="0"/>
              <a:cs typeface="Arial" panose="020B0604020202020204" pitchFamily="34" charset="0"/>
            </a:endParaRPr>
          </a:p>
        </p:txBody>
      </p:sp>
      <p:sp>
        <p:nvSpPr>
          <p:cNvPr id="10" name="Sous-titre 2">
            <a:extLst>
              <a:ext uri="{FF2B5EF4-FFF2-40B4-BE49-F238E27FC236}">
                <a16:creationId xmlns:a16="http://schemas.microsoft.com/office/drawing/2014/main" id="{0838B557-1211-E6BE-A0A1-A2B74FA2B84D}"/>
              </a:ext>
            </a:extLst>
          </p:cNvPr>
          <p:cNvSpPr>
            <a:spLocks noGrp="1"/>
          </p:cNvSpPr>
          <p:nvPr>
            <p:ph type="subTitle" idx="1"/>
          </p:nvPr>
        </p:nvSpPr>
        <p:spPr>
          <a:xfrm>
            <a:off x="2974109" y="2009356"/>
            <a:ext cx="6243782" cy="542668"/>
          </a:xfrm>
          <a:prstGeom prst="rect">
            <a:avLst/>
          </a:prstGeom>
        </p:spPr>
        <p:txBody>
          <a:bodyPr>
            <a:noAutofit/>
          </a:bodyPr>
          <a:lstStyle>
            <a:lvl1pPr marL="0" indent="0" algn="ctr">
              <a:buNone/>
              <a:defRPr/>
            </a:lvl1pPr>
          </a:lstStyle>
          <a:p>
            <a:r>
              <a:rPr lang="en-US" sz="5400" b="1">
                <a:solidFill>
                  <a:srgbClr val="97C62E"/>
                </a:solidFill>
                <a:effectLst/>
                <a:latin typeface="Arial" panose="020B0604020202020204" pitchFamily="34" charset="0"/>
                <a:cs typeface="Arial" panose="020B0604020202020204" pitchFamily="34" charset="0"/>
              </a:rPr>
              <a:t>Click to edit Master subtitle style</a:t>
            </a:r>
            <a:endParaRPr lang="fr-BE" sz="5400">
              <a:solidFill>
                <a:srgbClr val="97C62E"/>
              </a:solidFill>
              <a:effectLst/>
              <a:latin typeface="Arial" panose="020B0604020202020204" pitchFamily="34" charset="0"/>
              <a:ea typeface="Calibri" panose="020F0502020204030204" pitchFamily="34" charset="0"/>
              <a:cs typeface="Arial" panose="020B0604020202020204" pitchFamily="34" charset="0"/>
            </a:endParaRPr>
          </a:p>
        </p:txBody>
      </p:sp>
      <p:grpSp>
        <p:nvGrpSpPr>
          <p:cNvPr id="11" name="Groupe 10">
            <a:extLst>
              <a:ext uri="{FF2B5EF4-FFF2-40B4-BE49-F238E27FC236}">
                <a16:creationId xmlns:a16="http://schemas.microsoft.com/office/drawing/2014/main" id="{C482619B-8530-7CB3-B69C-F01BEE238DCC}"/>
              </a:ext>
            </a:extLst>
          </p:cNvPr>
          <p:cNvGrpSpPr/>
          <p:nvPr/>
        </p:nvGrpSpPr>
        <p:grpSpPr>
          <a:xfrm>
            <a:off x="5022658" y="5122009"/>
            <a:ext cx="2146684" cy="488226"/>
            <a:chOff x="4973314" y="5122009"/>
            <a:chExt cx="2146684" cy="488226"/>
          </a:xfrm>
        </p:grpSpPr>
        <p:pic>
          <p:nvPicPr>
            <p:cNvPr id="12" name="Graphique 11">
              <a:extLst>
                <a:ext uri="{FF2B5EF4-FFF2-40B4-BE49-F238E27FC236}">
                  <a16:creationId xmlns:a16="http://schemas.microsoft.com/office/drawing/2014/main" id="{C3C85ED0-EB66-ECEF-A4F4-A6EB6A451BE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73314" y="5141958"/>
              <a:ext cx="468277" cy="468277"/>
            </a:xfrm>
            <a:prstGeom prst="rect">
              <a:avLst/>
            </a:prstGeom>
          </p:spPr>
        </p:pic>
        <p:pic>
          <p:nvPicPr>
            <p:cNvPr id="13" name="Graphique 12">
              <a:extLst>
                <a:ext uri="{FF2B5EF4-FFF2-40B4-BE49-F238E27FC236}">
                  <a16:creationId xmlns:a16="http://schemas.microsoft.com/office/drawing/2014/main" id="{BA7888D2-B8E7-B8C0-833F-8C9BA4BE1E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92252" y="5122009"/>
              <a:ext cx="468277" cy="468277"/>
            </a:xfrm>
            <a:prstGeom prst="rect">
              <a:avLst/>
            </a:prstGeom>
          </p:spPr>
        </p:pic>
        <p:pic>
          <p:nvPicPr>
            <p:cNvPr id="15" name="Graphique 14">
              <a:extLst>
                <a:ext uri="{FF2B5EF4-FFF2-40B4-BE49-F238E27FC236}">
                  <a16:creationId xmlns:a16="http://schemas.microsoft.com/office/drawing/2014/main" id="{E67E4FE4-9F47-2924-67F6-2C44994459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32783" y="5141958"/>
              <a:ext cx="468277" cy="468277"/>
            </a:xfrm>
            <a:prstGeom prst="rect">
              <a:avLst/>
            </a:prstGeom>
          </p:spPr>
        </p:pic>
        <p:pic>
          <p:nvPicPr>
            <p:cNvPr id="17" name="Graphique 16">
              <a:extLst>
                <a:ext uri="{FF2B5EF4-FFF2-40B4-BE49-F238E27FC236}">
                  <a16:creationId xmlns:a16="http://schemas.microsoft.com/office/drawing/2014/main" id="{2D77E4D7-5A50-62B4-ABA1-A142A07F7D2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51721" y="5141957"/>
              <a:ext cx="468277" cy="468277"/>
            </a:xfrm>
            <a:prstGeom prst="rect">
              <a:avLst/>
            </a:prstGeom>
          </p:spPr>
        </p:pic>
      </p:grpSp>
    </p:spTree>
    <p:extLst>
      <p:ext uri="{BB962C8B-B14F-4D97-AF65-F5344CB8AC3E}">
        <p14:creationId xmlns:p14="http://schemas.microsoft.com/office/powerpoint/2010/main" val="32567363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3_Diapositive de titre">
    <p:spTree>
      <p:nvGrpSpPr>
        <p:cNvPr id="1" name=""/>
        <p:cNvGrpSpPr/>
        <p:nvPr/>
      </p:nvGrpSpPr>
      <p:grpSpPr>
        <a:xfrm>
          <a:off x="0" y="0"/>
          <a:ext cx="0" cy="0"/>
          <a:chOff x="0" y="0"/>
          <a:chExt cx="0" cy="0"/>
        </a:xfrm>
      </p:grpSpPr>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760520" y="1030253"/>
            <a:ext cx="10670959" cy="732935"/>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763478" y="1935333"/>
            <a:ext cx="10670961" cy="4456589"/>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5035556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4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6484937" cy="1053089"/>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786804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latin typeface="Calibri" panose="020F0502020204030204" pitchFamily="34" charset="0"/>
                <a:ea typeface="Calibri" panose="020F0502020204030204" pitchFamily="34" charset="0"/>
                <a:cs typeface="Calibri" panose="020F0502020204030204" pitchFamily="34" charset="0"/>
              </a:defRPr>
            </a:lvl1pPr>
            <a:lvl3pPr marL="914400" indent="0">
              <a:buNone/>
              <a:defRPr/>
            </a:lvl3pPr>
          </a:lstStyle>
          <a:p>
            <a:pPr lvl="0"/>
            <a:r>
              <a:rPr lang="fr-FR"/>
              <a:t>SUR TITRE</a:t>
            </a:r>
            <a:endParaRPr lang="fr-BE"/>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atin typeface="Calibri" panose="020F0502020204030204" pitchFamily="34" charset="0"/>
                <a:ea typeface="Calibri" panose="020F0502020204030204" pitchFamily="34" charset="0"/>
                <a:cs typeface="Calibri" panose="020F0502020204030204" pitchFamily="34" charset="0"/>
              </a:defRPr>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atin typeface="Calibri" panose="020F0502020204030204" pitchFamily="34" charset="0"/>
                <a:ea typeface="Calibri" panose="020F0502020204030204" pitchFamily="34" charset="0"/>
                <a:cs typeface="Calibri" panose="020F0502020204030204" pitchFamily="34" charset="0"/>
              </a:defRPr>
            </a:lvl1pPr>
            <a:lvl2pPr marL="457200" indent="0">
              <a:buNone/>
              <a:defRPr/>
            </a:lvl2pPr>
          </a:lstStyle>
          <a:p>
            <a:pPr lvl="0"/>
            <a:r>
              <a:rPr lang="fr-FR"/>
              <a:t>Cliquez pour modifier les styles du texte du masque</a:t>
            </a:r>
          </a:p>
        </p:txBody>
      </p:sp>
      <p:sp>
        <p:nvSpPr>
          <p:cNvPr id="3" name="Slide Number Placeholder 1">
            <a:extLst>
              <a:ext uri="{FF2B5EF4-FFF2-40B4-BE49-F238E27FC236}">
                <a16:creationId xmlns:a16="http://schemas.microsoft.com/office/drawing/2014/main" id="{D56F2CB4-41F7-C9B4-3F78-552E6B937B30}"/>
              </a:ext>
            </a:extLst>
          </p:cNvPr>
          <p:cNvSpPr>
            <a:spLocks noGrp="1"/>
          </p:cNvSpPr>
          <p:nvPr>
            <p:ph type="sldNum" sz="quarter" idx="14"/>
          </p:nvPr>
        </p:nvSpPr>
        <p:spPr>
          <a:xfrm>
            <a:off x="8610600" y="6356350"/>
            <a:ext cx="2743200" cy="365125"/>
          </a:xfrm>
          <a:prstGeom prst="rect">
            <a:avLst/>
          </a:prstGeom>
        </p:spPr>
        <p:txBody>
          <a:bodyPr/>
          <a:lstStyle>
            <a:lvl1pPr algn="r">
              <a:defRPr sz="1000">
                <a:solidFill>
                  <a:schemeClr val="bg1">
                    <a:lumMod val="65000"/>
                  </a:schemeClr>
                </a:solidFill>
              </a:defRPr>
            </a:lvl1pPr>
          </a:lstStyle>
          <a:p>
            <a:fld id="{6ABB0DC6-0311-9D4C-8333-A8862636E7AD}" type="slidenum">
              <a:rPr lang="en-GB" smtClean="0"/>
              <a:pPr/>
              <a:t>‹#›</a:t>
            </a:fld>
            <a:endParaRPr lang="en-GB"/>
          </a:p>
        </p:txBody>
      </p:sp>
      <p:sp>
        <p:nvSpPr>
          <p:cNvPr id="4" name="Titelplatzhalter 4">
            <a:extLst>
              <a:ext uri="{FF2B5EF4-FFF2-40B4-BE49-F238E27FC236}">
                <a16:creationId xmlns:a16="http://schemas.microsoft.com/office/drawing/2014/main" id="{E215E7E6-4625-4FEB-9E23-5316E22D17DC}"/>
              </a:ext>
            </a:extLst>
          </p:cNvPr>
          <p:cNvSpPr>
            <a:spLocks noGrp="1"/>
          </p:cNvSpPr>
          <p:nvPr>
            <p:ph type="title"/>
          </p:nvPr>
        </p:nvSpPr>
        <p:spPr>
          <a:xfrm>
            <a:off x="1785464" y="177679"/>
            <a:ext cx="9568336" cy="684717"/>
          </a:xfrm>
          <a:prstGeom prst="rect">
            <a:avLst/>
          </a:prstGeom>
        </p:spPr>
        <p:txBody>
          <a:bodyPr vert="horz" lIns="91440" tIns="45720" rIns="91440" bIns="45720" rtlCol="0" anchor="ctr">
            <a:normAutofit/>
          </a:bodyPr>
          <a:lstStyle>
            <a:lvl1pPr>
              <a:defRPr>
                <a:latin typeface="Calibri" panose="020F0502020204030204" pitchFamily="34" charset="0"/>
                <a:ea typeface="Calibri" panose="020F0502020204030204" pitchFamily="34" charset="0"/>
                <a:cs typeface="Calibri" panose="020F0502020204030204" pitchFamily="34" charset="0"/>
              </a:defRPr>
            </a:lvl1pPr>
          </a:lstStyle>
          <a:p>
            <a:r>
              <a:rPr lang="de-DE"/>
              <a:t>Mastertitelformat bearbeiten</a:t>
            </a:r>
            <a:endParaRPr lang="en-US"/>
          </a:p>
        </p:txBody>
      </p:sp>
    </p:spTree>
    <p:extLst>
      <p:ext uri="{BB962C8B-B14F-4D97-AF65-F5344CB8AC3E}">
        <p14:creationId xmlns:p14="http://schemas.microsoft.com/office/powerpoint/2010/main" val="8214066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6F1F21-D9AA-203F-09FC-FA170E5B0E87}"/>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0729491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Diapositive de titre">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E8476ABF-C079-022D-E0CF-A69E87CAE35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33246" y="1399413"/>
            <a:ext cx="11094301" cy="5086441"/>
          </a:xfrm>
          <a:prstGeom prst="rect">
            <a:avLst/>
          </a:prstGeom>
        </p:spPr>
      </p:pic>
      <p:sp>
        <p:nvSpPr>
          <p:cNvPr id="6" name="ZoneTexte 5">
            <a:extLst>
              <a:ext uri="{FF2B5EF4-FFF2-40B4-BE49-F238E27FC236}">
                <a16:creationId xmlns:a16="http://schemas.microsoft.com/office/drawing/2014/main" id="{8B7D6CE7-6EFC-E926-70C1-A527DCE16BE5}"/>
              </a:ext>
            </a:extLst>
          </p:cNvPr>
          <p:cNvSpPr txBox="1"/>
          <p:nvPr userDrawn="1"/>
        </p:nvSpPr>
        <p:spPr>
          <a:xfrm>
            <a:off x="4196972" y="733245"/>
            <a:ext cx="4149305" cy="523221"/>
          </a:xfrm>
          <a:prstGeom prst="rect">
            <a:avLst/>
          </a:prstGeom>
          <a:noFill/>
        </p:spPr>
        <p:txBody>
          <a:bodyPr wrap="square" rtlCol="0">
            <a:spAutoFit/>
          </a:bodyPr>
          <a:lstStyle/>
          <a:p>
            <a:pPr algn="ctr"/>
            <a:r>
              <a:rPr lang="fr-BE" sz="2800" b="1" i="0">
                <a:solidFill>
                  <a:srgbClr val="0C1D3E"/>
                </a:solidFill>
                <a:effectLst/>
                <a:latin typeface="Calibri" panose="020F0502020204030204" pitchFamily="34" charset="0"/>
                <a:ea typeface="Calibri" panose="020F0502020204030204" pitchFamily="34" charset="0"/>
                <a:cs typeface="Calibri" panose="020F0502020204030204" pitchFamily="34" charset="0"/>
              </a:rPr>
              <a:t>Founding Members</a:t>
            </a:r>
            <a:endParaRPr lang="fr-BE" sz="2800" b="1">
              <a:solidFill>
                <a:srgbClr val="0C1D3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980204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igh_Title_and Tex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2E6A47D-1E63-43BD-97FB-24C7DA2001F7}"/>
              </a:ext>
            </a:extLst>
          </p:cNvPr>
          <p:cNvSpPr>
            <a:spLocks noGrp="1"/>
          </p:cNvSpPr>
          <p:nvPr>
            <p:ph type="title" hasCustomPrompt="1"/>
          </p:nvPr>
        </p:nvSpPr>
        <p:spPr>
          <a:xfrm>
            <a:off x="1742902" y="224286"/>
            <a:ext cx="7490745" cy="741871"/>
          </a:xfrm>
          <a:prstGeom prst="rect">
            <a:avLst/>
          </a:prstGeom>
        </p:spPr>
        <p:txBody>
          <a:bodyPr/>
          <a:lstStyle>
            <a:lvl1pPr marL="0" indent="0">
              <a:buFont typeface="Arial" panose="020B0604020202020204" pitchFamily="34" charset="0"/>
              <a:buNone/>
              <a:defRPr sz="2400" b="1">
                <a:latin typeface="+mn-lt"/>
              </a:defRPr>
            </a:lvl1pPr>
          </a:lstStyle>
          <a:p>
            <a:r>
              <a:rPr lang="en-GB" noProof="0"/>
              <a:t>Title text block.</a:t>
            </a:r>
          </a:p>
        </p:txBody>
      </p:sp>
      <p:sp>
        <p:nvSpPr>
          <p:cNvPr id="8" name="Espace réservé du texte 17">
            <a:extLst>
              <a:ext uri="{FF2B5EF4-FFF2-40B4-BE49-F238E27FC236}">
                <a16:creationId xmlns:a16="http://schemas.microsoft.com/office/drawing/2014/main" id="{015D2BAE-20F1-48A3-807F-C6F42EE39BE1}"/>
              </a:ext>
            </a:extLst>
          </p:cNvPr>
          <p:cNvSpPr>
            <a:spLocks noGrp="1"/>
          </p:cNvSpPr>
          <p:nvPr>
            <p:ph type="body" sz="quarter" idx="12" hasCustomPrompt="1"/>
          </p:nvPr>
        </p:nvSpPr>
        <p:spPr>
          <a:xfrm>
            <a:off x="758253" y="1086928"/>
            <a:ext cx="11128947" cy="5158597"/>
          </a:xfrm>
          <a:prstGeom prst="rect">
            <a:avLst/>
          </a:prstGeom>
        </p:spPr>
        <p:txBody>
          <a:bodyPr/>
          <a:lstStyle>
            <a:lvl1pPr marL="285750" indent="-285750" algn="l">
              <a:buFont typeface="Arial" panose="020B0604020202020204" pitchFamily="34" charset="0"/>
              <a:buChar char="•"/>
              <a:defRPr sz="2400"/>
            </a:lvl1pPr>
            <a:lvl2pPr marL="800100" indent="-342900">
              <a:buFont typeface="Arial" panose="020B0604020202020204" pitchFamily="34" charset="0"/>
              <a:buChar char="•"/>
              <a:defRPr sz="2000"/>
            </a:lvl2pPr>
            <a:lvl3pPr>
              <a:defRPr sz="1800"/>
            </a:lvl3pPr>
            <a:lvl4pPr>
              <a:defRPr sz="1600"/>
            </a:lvl4pPr>
            <a:lvl5pPr>
              <a:defRPr sz="1600"/>
            </a:lvl5pPr>
          </a:lstStyle>
          <a:p>
            <a:pPr lvl="0"/>
            <a:r>
              <a:rPr lang="en-GB" noProof="0"/>
              <a:t>Lorem ipsum</a:t>
            </a:r>
          </a:p>
          <a:p>
            <a:pPr lvl="1"/>
            <a:r>
              <a:rPr lang="en-GB" noProof="0"/>
              <a:t>Lorem ipsum</a:t>
            </a:r>
          </a:p>
          <a:p>
            <a:pPr lvl="2"/>
            <a:r>
              <a:rPr lang="en-GB" noProof="0"/>
              <a:t>Lorem ipsum</a:t>
            </a:r>
          </a:p>
          <a:p>
            <a:pPr lvl="3"/>
            <a:r>
              <a:rPr lang="en-GB" noProof="0"/>
              <a:t>Lorem ipsum</a:t>
            </a:r>
          </a:p>
          <a:p>
            <a:pPr lvl="4"/>
            <a:r>
              <a:rPr lang="en-GB" noProof="0"/>
              <a:t>Lorem ipsum</a:t>
            </a:r>
          </a:p>
        </p:txBody>
      </p:sp>
      <p:sp>
        <p:nvSpPr>
          <p:cNvPr id="2" name="Foliennummernplatzhalter 1">
            <a:extLst>
              <a:ext uri="{FF2B5EF4-FFF2-40B4-BE49-F238E27FC236}">
                <a16:creationId xmlns:a16="http://schemas.microsoft.com/office/drawing/2014/main" id="{B2AACC19-AAF5-4321-9422-900251135C8B}"/>
              </a:ext>
            </a:extLst>
          </p:cNvPr>
          <p:cNvSpPr>
            <a:spLocks noGrp="1"/>
          </p:cNvSpPr>
          <p:nvPr>
            <p:ph type="sldNum" sz="quarter" idx="13"/>
          </p:nvPr>
        </p:nvSpPr>
        <p:spPr/>
        <p:txBody>
          <a:bodyPr/>
          <a:lstStyle/>
          <a:p>
            <a:fld id="{56536973-A094-468B-8C2D-F0C8F7EA08F5}" type="slidenum">
              <a:rPr lang="en-GB" smtClean="0"/>
              <a:t>‹#›</a:t>
            </a:fld>
            <a:endParaRPr lang="en-GB"/>
          </a:p>
        </p:txBody>
      </p:sp>
      <p:sp>
        <p:nvSpPr>
          <p:cNvPr id="3" name="Slide Number Placeholder 1">
            <a:extLst>
              <a:ext uri="{FF2B5EF4-FFF2-40B4-BE49-F238E27FC236}">
                <a16:creationId xmlns:a16="http://schemas.microsoft.com/office/drawing/2014/main" id="{3187ADBE-FC66-6DB5-4773-CA8E37BA30B3}"/>
              </a:ext>
            </a:extLst>
          </p:cNvPr>
          <p:cNvSpPr txBox="1">
            <a:spLocks/>
          </p:cNvSpPr>
          <p:nvPr userDrawn="1"/>
        </p:nvSpPr>
        <p:spPr>
          <a:xfrm>
            <a:off x="8610600" y="6356350"/>
            <a:ext cx="2743200" cy="365125"/>
          </a:xfrm>
          <a:prstGeom prst="rect">
            <a:avLst/>
          </a:prstGeom>
        </p:spPr>
        <p:txBody>
          <a:bodyPr/>
          <a:lstStyle>
            <a:defPPr>
              <a:defRPr lang="fr-FR"/>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ABB0DC6-0311-9D4C-8333-A8862636E7AD}" type="slidenum">
              <a:rPr lang="en-GB" smtClean="0"/>
              <a:pPr/>
              <a:t>‹#›</a:t>
            </a:fld>
            <a:endParaRPr lang="en-GB"/>
          </a:p>
        </p:txBody>
      </p:sp>
    </p:spTree>
    <p:extLst>
      <p:ext uri="{BB962C8B-B14F-4D97-AF65-F5344CB8AC3E}">
        <p14:creationId xmlns:p14="http://schemas.microsoft.com/office/powerpoint/2010/main" val="20226060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Main template_Title&amp;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28618D-6FBD-AD4F-8D43-E09890CBEF3D}"/>
              </a:ext>
            </a:extLst>
          </p:cNvPr>
          <p:cNvSpPr>
            <a:spLocks noGrp="1"/>
          </p:cNvSpPr>
          <p:nvPr>
            <p:ph type="title" hasCustomPrompt="1"/>
          </p:nvPr>
        </p:nvSpPr>
        <p:spPr/>
        <p:txBody>
          <a:bodyPr/>
          <a:lstStyle/>
          <a:p>
            <a:r>
              <a:rPr lang="fr-FR"/>
              <a:t>LOREM IPSUM</a:t>
            </a:r>
            <a:endParaRPr lang="en-GB"/>
          </a:p>
        </p:txBody>
      </p:sp>
      <p:sp>
        <p:nvSpPr>
          <p:cNvPr id="3" name="Espace réservé du contenu 2">
            <a:extLst>
              <a:ext uri="{FF2B5EF4-FFF2-40B4-BE49-F238E27FC236}">
                <a16:creationId xmlns:a16="http://schemas.microsoft.com/office/drawing/2014/main" id="{EBE44464-339C-4640-A68F-AD5FAC0DB85D}"/>
              </a:ext>
            </a:extLst>
          </p:cNvPr>
          <p:cNvSpPr>
            <a:spLocks noGrp="1"/>
          </p:cNvSpPr>
          <p:nvPr>
            <p:ph idx="1" hasCustomPrompt="1"/>
          </p:nvPr>
        </p:nvSpPr>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278A20ED-7568-AC40-8952-FE2ACB258D44}"/>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C4500258-EA4E-8244-8D0A-94550C2F7CA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F6F189-3884-AB4B-A72D-2202C1429E1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42895857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ntent slide blank">
    <p:spTree>
      <p:nvGrpSpPr>
        <p:cNvPr id="1" name=""/>
        <p:cNvGrpSpPr/>
        <p:nvPr/>
      </p:nvGrpSpPr>
      <p:grpSpPr>
        <a:xfrm>
          <a:off x="0" y="0"/>
          <a:ext cx="0" cy="0"/>
          <a:chOff x="0" y="0"/>
          <a:chExt cx="0" cy="0"/>
        </a:xfrm>
      </p:grpSpPr>
      <p:sp>
        <p:nvSpPr>
          <p:cNvPr id="4" name="Rectangle 3"/>
          <p:cNvSpPr>
            <a:spLocks noChangeArrowheads="1"/>
          </p:cNvSpPr>
          <p:nvPr/>
        </p:nvSpPr>
        <p:spPr bwMode="auto">
          <a:xfrm>
            <a:off x="1828562" y="6581776"/>
            <a:ext cx="8299344"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1725" tIns="60862" rIns="121725" bIns="60862">
            <a:spAutoFit/>
          </a:bodyPr>
          <a:lstStyle/>
          <a:p>
            <a:pPr algn="ctr"/>
            <a:r>
              <a:rPr lang="en-US" sz="1000">
                <a:solidFill>
                  <a:srgbClr val="505150"/>
                </a:solidFill>
                <a:cs typeface="Calibri" charset="0"/>
              </a:rPr>
              <a:t>Confidential &amp; Proprietary</a:t>
            </a:r>
            <a:endParaRPr lang="fr-FR" sz="1000">
              <a:solidFill>
                <a:srgbClr val="505150"/>
              </a:solidFill>
            </a:endParaRPr>
          </a:p>
        </p:txBody>
      </p:sp>
      <p:pic>
        <p:nvPicPr>
          <p:cNvPr id="5" name="Picture 1" descr="Wabtec_logo.pdf"/>
          <p:cNvPicPr>
            <a:picLocks noChangeAspect="1"/>
          </p:cNvPicPr>
          <p:nvPr/>
        </p:nvPicPr>
        <p:blipFill>
          <a:blip r:embed="rId2" cstate="screen">
            <a:extLst>
              <a:ext uri="{28A0092B-C50C-407E-A947-70E740481C1C}">
                <a14:useLocalDpi xmlns:a14="http://schemas.microsoft.com/office/drawing/2010/main" val="0"/>
              </a:ext>
            </a:extLst>
          </a:blip>
          <a:srcRect l="17250" t="13441" r="-1193" b="65245"/>
          <a:stretch>
            <a:fillRect/>
          </a:stretch>
        </p:blipFill>
        <p:spPr bwMode="auto">
          <a:xfrm>
            <a:off x="447195" y="6299200"/>
            <a:ext cx="1567565" cy="55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Page number"/>
          <p:cNvSpPr txBox="1">
            <a:spLocks/>
          </p:cNvSpPr>
          <p:nvPr/>
        </p:nvSpPr>
        <p:spPr>
          <a:xfrm>
            <a:off x="10879064" y="6535739"/>
            <a:ext cx="712964" cy="153987"/>
          </a:xfrm>
          <a:prstGeom prst="rect">
            <a:avLst/>
          </a:prstGeom>
          <a:noFill/>
          <a:ln>
            <a:noFill/>
          </a:ln>
          <a:effectLst/>
        </p:spPr>
        <p:style>
          <a:lnRef idx="1">
            <a:schemeClr val="dk1"/>
          </a:lnRef>
          <a:fillRef idx="2">
            <a:schemeClr val="dk1"/>
          </a:fillRef>
          <a:effectRef idx="1">
            <a:schemeClr val="dk1"/>
          </a:effectRef>
          <a:fontRef idx="minor">
            <a:schemeClr val="dk1"/>
          </a:fontRef>
        </p:style>
        <p:txBody>
          <a:bodyPr lIns="0" tIns="0" rIns="0" bIns="0">
            <a:spAutoFit/>
          </a:bodyPr>
          <a:lstStyle/>
          <a:p>
            <a:pPr algn="r" defTabSz="1217249" fontAlgn="auto">
              <a:spcBef>
                <a:spcPts val="0"/>
              </a:spcBef>
              <a:spcAft>
                <a:spcPts val="0"/>
              </a:spcAft>
              <a:buFont typeface="Arial" pitchFamily="34" charset="0"/>
              <a:buNone/>
              <a:defRPr/>
            </a:pPr>
            <a:fld id="{F171574E-8CE2-3540-B51F-7B17F34DC495}" type="slidenum">
              <a:rPr lang="en-GB" sz="1000">
                <a:solidFill>
                  <a:srgbClr val="7F7F7F"/>
                </a:solidFill>
                <a:latin typeface="Tahoma"/>
                <a:cs typeface="Tahoma"/>
              </a:rPr>
              <a:pPr algn="r" defTabSz="1217249" fontAlgn="auto">
                <a:spcBef>
                  <a:spcPts val="0"/>
                </a:spcBef>
                <a:spcAft>
                  <a:spcPts val="0"/>
                </a:spcAft>
                <a:buFont typeface="Arial" pitchFamily="34" charset="0"/>
                <a:buNone/>
                <a:defRPr/>
              </a:pPr>
              <a:t>‹#›</a:t>
            </a:fld>
            <a:endParaRPr lang="en-GB" sz="1100">
              <a:solidFill>
                <a:srgbClr val="FF0000"/>
              </a:solidFill>
              <a:latin typeface="Tahoma"/>
              <a:cs typeface="Tahoma"/>
            </a:endParaRPr>
          </a:p>
        </p:txBody>
      </p:sp>
      <p:sp>
        <p:nvSpPr>
          <p:cNvPr id="30" name="Title"/>
          <p:cNvSpPr>
            <a:spLocks noGrp="1"/>
          </p:cNvSpPr>
          <p:nvPr>
            <p:ph type="title"/>
          </p:nvPr>
        </p:nvSpPr>
        <p:spPr>
          <a:xfrm>
            <a:off x="507870" y="0"/>
            <a:ext cx="11763028" cy="815354"/>
          </a:xfrm>
          <a:prstGeom prst="rect">
            <a:avLst/>
          </a:prstGeom>
        </p:spPr>
        <p:txBody>
          <a:bodyPr lIns="121725" tIns="60862" rIns="121725" bIns="60862" anchor="b" anchorCtr="0"/>
          <a:lstStyle>
            <a:lvl1pPr marL="0" indent="0" algn="l">
              <a:defRPr sz="3600" b="1" i="0" cap="none" spc="-100" baseline="0">
                <a:solidFill>
                  <a:schemeClr val="tx1"/>
                </a:solidFill>
                <a:latin typeface="Arial"/>
                <a:cs typeface="Arial"/>
              </a:defRPr>
            </a:lvl1pPr>
          </a:lstStyle>
          <a:p>
            <a:r>
              <a:rPr lang="en-US" noProof="0"/>
              <a:t>Click to edit Master title style</a:t>
            </a:r>
          </a:p>
        </p:txBody>
      </p:sp>
      <p:sp>
        <p:nvSpPr>
          <p:cNvPr id="31" name="Subtitle"/>
          <p:cNvSpPr>
            <a:spLocks noGrp="1"/>
          </p:cNvSpPr>
          <p:nvPr>
            <p:ph type="body" sz="quarter" idx="12"/>
          </p:nvPr>
        </p:nvSpPr>
        <p:spPr>
          <a:xfrm>
            <a:off x="507870" y="680979"/>
            <a:ext cx="11295133" cy="270000"/>
          </a:xfrm>
          <a:prstGeom prst="rect">
            <a:avLst/>
          </a:prstGeom>
        </p:spPr>
        <p:txBody>
          <a:bodyPr lIns="121725" tIns="60862" rIns="121725" bIns="60862"/>
          <a:lstStyle>
            <a:lvl1pPr marL="0" indent="0">
              <a:buFontTx/>
              <a:buNone/>
              <a:defRPr sz="1900" i="0" spc="200" baseline="0">
                <a:solidFill>
                  <a:srgbClr val="505150"/>
                </a:solidFill>
                <a:latin typeface="Arial"/>
                <a:cs typeface="Arial"/>
              </a:defRPr>
            </a:lvl1pPr>
            <a:lvl2pPr>
              <a:buFontTx/>
              <a:buNone/>
              <a:defRPr sz="1900" i="1" baseline="0">
                <a:latin typeface="Arial" pitchFamily="34" charset="0"/>
                <a:cs typeface="Arial" pitchFamily="34" charset="0"/>
              </a:defRPr>
            </a:lvl2pPr>
            <a:lvl3pPr>
              <a:buFontTx/>
              <a:buNone/>
              <a:defRPr sz="1900" i="1" baseline="0">
                <a:latin typeface="Arial" pitchFamily="34" charset="0"/>
                <a:cs typeface="Arial" pitchFamily="34" charset="0"/>
              </a:defRPr>
            </a:lvl3pPr>
            <a:lvl4pPr>
              <a:buFontTx/>
              <a:buNone/>
              <a:defRPr sz="1900" i="1" baseline="0">
                <a:latin typeface="Arial" pitchFamily="34" charset="0"/>
                <a:cs typeface="Arial" pitchFamily="34" charset="0"/>
              </a:defRPr>
            </a:lvl4pPr>
            <a:lvl5pPr>
              <a:buFontTx/>
              <a:buNone/>
              <a:defRPr sz="1900" i="1" baseline="0">
                <a:latin typeface="Arial" pitchFamily="34" charset="0"/>
                <a:cs typeface="Arial" pitchFamily="34" charset="0"/>
              </a:defRPr>
            </a:lvl5pPr>
          </a:lstStyle>
          <a:p>
            <a:pPr lvl="0"/>
            <a:r>
              <a:rPr lang="en-US" noProof="0"/>
              <a:t>Edit Master text styles</a:t>
            </a:r>
          </a:p>
        </p:txBody>
      </p:sp>
    </p:spTree>
    <p:extLst>
      <p:ext uri="{BB962C8B-B14F-4D97-AF65-F5344CB8AC3E}">
        <p14:creationId xmlns:p14="http://schemas.microsoft.com/office/powerpoint/2010/main" val="8500347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One_content">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772876" y="879074"/>
            <a:ext cx="9767959" cy="230910"/>
          </a:xfrm>
          <a:prstGeom prst="rect">
            <a:avLst/>
          </a:prstGeom>
        </p:spPr>
        <p:txBody>
          <a:bodyPr/>
          <a:lstStyle>
            <a:lvl1pPr marL="0" indent="0" algn="l">
              <a:buNone/>
              <a:defRPr sz="1600" b="1">
                <a:solidFill>
                  <a:srgbClr val="02C39A"/>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772878" y="234300"/>
            <a:ext cx="7209758" cy="500806"/>
          </a:xfrm>
          <a:prstGeom prst="rect">
            <a:avLst/>
          </a:prstGeom>
        </p:spPr>
        <p:txBody>
          <a:bodyPr/>
          <a:lstStyle>
            <a:lvl1pPr marL="0" indent="0" algn="l">
              <a:buNone/>
              <a:defRPr sz="3200" b="1">
                <a:latin typeface="+mj-lt"/>
              </a:defRPr>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772875" y="1880844"/>
            <a:ext cx="9767960" cy="3982628"/>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2" name="Foliennummernplatzhalter 1">
            <a:extLst>
              <a:ext uri="{FF2B5EF4-FFF2-40B4-BE49-F238E27FC236}">
                <a16:creationId xmlns:a16="http://schemas.microsoft.com/office/drawing/2014/main" id="{CE2D20F8-95C3-30F3-5C72-0410993735C8}"/>
              </a:ext>
            </a:extLst>
          </p:cNvPr>
          <p:cNvSpPr>
            <a:spLocks noGrp="1"/>
          </p:cNvSpPr>
          <p:nvPr>
            <p:ph type="sldNum" sz="quarter" idx="13"/>
          </p:nvPr>
        </p:nvSpPr>
        <p:spPr/>
        <p:txBody>
          <a:bodyPr/>
          <a:lstStyle/>
          <a:p>
            <a:fld id="{71AD1544-96AF-452C-A8FA-5D7DEC9372CE}" type="slidenum">
              <a:rPr lang="de-DE" smtClean="0"/>
              <a:pPr/>
              <a:t>‹#›</a:t>
            </a:fld>
            <a:endParaRPr lang="de-DE"/>
          </a:p>
        </p:txBody>
      </p:sp>
    </p:spTree>
    <p:extLst>
      <p:ext uri="{BB962C8B-B14F-4D97-AF65-F5344CB8AC3E}">
        <p14:creationId xmlns:p14="http://schemas.microsoft.com/office/powerpoint/2010/main" val="37476375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6F1F21-D9AA-203F-09FC-FA170E5B0E87}"/>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5676020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6484937" cy="1053089"/>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1291277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eere Seite">
    <p:spTree>
      <p:nvGrpSpPr>
        <p:cNvPr id="1" name=""/>
        <p:cNvGrpSpPr/>
        <p:nvPr/>
      </p:nvGrpSpPr>
      <p:grpSpPr>
        <a:xfrm>
          <a:off x="0" y="0"/>
          <a:ext cx="0" cy="0"/>
          <a:chOff x="0" y="0"/>
          <a:chExt cx="0" cy="0"/>
        </a:xfrm>
      </p:grpSpPr>
      <p:sp>
        <p:nvSpPr>
          <p:cNvPr id="2" name="Titelplatzhalter 4">
            <a:extLst>
              <a:ext uri="{FF2B5EF4-FFF2-40B4-BE49-F238E27FC236}">
                <a16:creationId xmlns:a16="http://schemas.microsoft.com/office/drawing/2014/main" id="{3CFB7D43-5204-97A2-2F54-D6AB17306D8F}"/>
              </a:ext>
            </a:extLst>
          </p:cNvPr>
          <p:cNvSpPr>
            <a:spLocks noGrp="1"/>
          </p:cNvSpPr>
          <p:nvPr>
            <p:ph type="title"/>
          </p:nvPr>
        </p:nvSpPr>
        <p:spPr>
          <a:xfrm>
            <a:off x="1785464" y="177679"/>
            <a:ext cx="9568336" cy="684717"/>
          </a:xfrm>
          <a:prstGeom prst="rect">
            <a:avLst/>
          </a:prstGeom>
        </p:spPr>
        <p:txBody>
          <a:bodyPr vert="horz" lIns="91440" tIns="45720" rIns="91440" bIns="45720" rtlCol="0" anchor="ctr">
            <a:normAutofit/>
          </a:bodyPr>
          <a:lstStyle>
            <a:lvl1pPr>
              <a:defRPr>
                <a:latin typeface="Calibri" panose="020F0502020204030204" pitchFamily="34" charset="0"/>
                <a:ea typeface="Calibri" panose="020F0502020204030204" pitchFamily="34" charset="0"/>
                <a:cs typeface="Calibri" panose="020F0502020204030204" pitchFamily="34" charset="0"/>
              </a:defRPr>
            </a:lvl1pPr>
          </a:lstStyle>
          <a:p>
            <a:r>
              <a:rPr lang="de-DE"/>
              <a:t>Mastertitelformat bearbeiten</a:t>
            </a:r>
            <a:endParaRPr lang="en-US"/>
          </a:p>
        </p:txBody>
      </p:sp>
      <p:sp>
        <p:nvSpPr>
          <p:cNvPr id="3" name="Slide Number Placeholder 1">
            <a:extLst>
              <a:ext uri="{FF2B5EF4-FFF2-40B4-BE49-F238E27FC236}">
                <a16:creationId xmlns:a16="http://schemas.microsoft.com/office/drawing/2014/main" id="{68982BA5-B228-F87B-3B1D-E0CCB33BF820}"/>
              </a:ext>
            </a:extLst>
          </p:cNvPr>
          <p:cNvSpPr>
            <a:spLocks noGrp="1"/>
          </p:cNvSpPr>
          <p:nvPr>
            <p:ph type="sldNum" sz="quarter" idx="14"/>
          </p:nvPr>
        </p:nvSpPr>
        <p:spPr>
          <a:xfrm>
            <a:off x="8610600" y="6356350"/>
            <a:ext cx="2743200" cy="365125"/>
          </a:xfrm>
          <a:prstGeom prst="rect">
            <a:avLst/>
          </a:prstGeom>
        </p:spPr>
        <p:txBody>
          <a:bodyPr/>
          <a:lstStyle>
            <a:lvl1pPr algn="r">
              <a:defRPr sz="1000">
                <a:solidFill>
                  <a:schemeClr val="bg1">
                    <a:lumMod val="65000"/>
                  </a:schemeClr>
                </a:solidFill>
              </a:defRPr>
            </a:lvl1pPr>
          </a:lstStyle>
          <a:p>
            <a:fld id="{6ABB0DC6-0311-9D4C-8333-A8862636E7AD}" type="slidenum">
              <a:rPr lang="en-GB" smtClean="0"/>
              <a:pPr/>
              <a:t>‹#›</a:t>
            </a:fld>
            <a:endParaRPr lang="en-GB"/>
          </a:p>
        </p:txBody>
      </p:sp>
    </p:spTree>
    <p:extLst>
      <p:ext uri="{BB962C8B-B14F-4D97-AF65-F5344CB8AC3E}">
        <p14:creationId xmlns:p14="http://schemas.microsoft.com/office/powerpoint/2010/main" val="1127783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Main template_Title&amp;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28618D-6FBD-AD4F-8D43-E09890CBEF3D}"/>
              </a:ext>
            </a:extLst>
          </p:cNvPr>
          <p:cNvSpPr>
            <a:spLocks noGrp="1"/>
          </p:cNvSpPr>
          <p:nvPr>
            <p:ph type="title" hasCustomPrompt="1"/>
          </p:nvPr>
        </p:nvSpPr>
        <p:spPr/>
        <p:txBody>
          <a:bodyPr/>
          <a:lstStyle/>
          <a:p>
            <a:r>
              <a:rPr lang="fr-FR"/>
              <a:t>LOREM IPSUM</a:t>
            </a:r>
            <a:endParaRPr lang="en-GB"/>
          </a:p>
        </p:txBody>
      </p:sp>
      <p:sp>
        <p:nvSpPr>
          <p:cNvPr id="3" name="Espace réservé du contenu 2">
            <a:extLst>
              <a:ext uri="{FF2B5EF4-FFF2-40B4-BE49-F238E27FC236}">
                <a16:creationId xmlns:a16="http://schemas.microsoft.com/office/drawing/2014/main" id="{EBE44464-339C-4640-A68F-AD5FAC0DB85D}"/>
              </a:ext>
            </a:extLst>
          </p:cNvPr>
          <p:cNvSpPr>
            <a:spLocks noGrp="1"/>
          </p:cNvSpPr>
          <p:nvPr>
            <p:ph idx="1" hasCustomPrompt="1"/>
          </p:nvPr>
        </p:nvSpPr>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278A20ED-7568-AC40-8952-FE2ACB258D44}"/>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C4500258-EA4E-8244-8D0A-94550C2F7CA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F6F189-3884-AB4B-A72D-2202C1429E1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1152452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de-DE"/>
              <a:t>Titelmasterformat durch Klicken bearbeiten</a:t>
            </a:r>
            <a:endParaRPr lang="de-AT"/>
          </a:p>
        </p:txBody>
      </p:sp>
      <p:sp>
        <p:nvSpPr>
          <p:cNvPr id="3" name="Untertitel 2"/>
          <p:cNvSpPr>
            <a:spLocks noGrp="1"/>
          </p:cNvSpPr>
          <p:nvPr>
            <p:ph type="subTitle" idx="1"/>
          </p:nvPr>
        </p:nvSpPr>
        <p:spPr>
          <a:xfrm>
            <a:off x="1524000" y="3602037"/>
            <a:ext cx="9144000" cy="1655763"/>
          </a:xfrm>
          <a:prstGeom prst="rect">
            <a:avLst/>
          </a:prstGeo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de-DE"/>
              <a:t>Formatvorlage des Untertitelmasters durch Klicken bearbeiten</a:t>
            </a:r>
            <a:endParaRPr lang="de-AT"/>
          </a:p>
        </p:txBody>
      </p:sp>
      <p:sp>
        <p:nvSpPr>
          <p:cNvPr id="4" name="Datumsplatzhalter 3"/>
          <p:cNvSpPr>
            <a:spLocks noGrp="1"/>
          </p:cNvSpPr>
          <p:nvPr>
            <p:ph type="dt" sz="half" idx="10"/>
          </p:nvPr>
        </p:nvSpPr>
        <p:spPr>
          <a:xfrm>
            <a:off x="838200" y="6356351"/>
            <a:ext cx="2743200" cy="365125"/>
          </a:xfrm>
          <a:prstGeom prst="rect">
            <a:avLst/>
          </a:prstGeom>
        </p:spPr>
        <p:txBody>
          <a:bodyPr/>
          <a:lstStyle/>
          <a:p>
            <a:endParaRPr lang="de-AT"/>
          </a:p>
        </p:txBody>
      </p:sp>
      <p:sp>
        <p:nvSpPr>
          <p:cNvPr id="5" name="Fußzeilenplatzhalter 4"/>
          <p:cNvSpPr>
            <a:spLocks noGrp="1"/>
          </p:cNvSpPr>
          <p:nvPr>
            <p:ph type="ftr" sz="quarter" idx="11"/>
          </p:nvPr>
        </p:nvSpPr>
        <p:spPr>
          <a:xfrm>
            <a:off x="4038600" y="6356351"/>
            <a:ext cx="4114800" cy="365125"/>
          </a:xfrm>
          <a:prstGeom prst="rect">
            <a:avLst/>
          </a:prstGeom>
        </p:spPr>
        <p:txBody>
          <a:bodyPr/>
          <a:lstStyle/>
          <a:p>
            <a:endParaRPr lang="de-AT"/>
          </a:p>
        </p:txBody>
      </p:sp>
      <p:sp>
        <p:nvSpPr>
          <p:cNvPr id="6" name="Foliennummernplatzhalter 5"/>
          <p:cNvSpPr>
            <a:spLocks noGrp="1"/>
          </p:cNvSpPr>
          <p:nvPr>
            <p:ph type="sldNum" sz="quarter" idx="12"/>
          </p:nvPr>
        </p:nvSpPr>
        <p:spPr>
          <a:xfrm>
            <a:off x="8610600" y="6356351"/>
            <a:ext cx="2743200" cy="365125"/>
          </a:xfrm>
          <a:prstGeom prst="rect">
            <a:avLst/>
          </a:prstGeom>
        </p:spPr>
        <p:txBody>
          <a:bodyPr/>
          <a:lstStyle/>
          <a:p>
            <a:fld id="{53E44881-4E3D-47E9-9F7B-6C92E4FB4E6B}" type="slidenum">
              <a:rPr lang="de-AT" smtClean="0"/>
              <a:t>‹#›</a:t>
            </a:fld>
            <a:endParaRPr lang="de-AT"/>
          </a:p>
        </p:txBody>
      </p:sp>
    </p:spTree>
    <p:extLst>
      <p:ext uri="{BB962C8B-B14F-4D97-AF65-F5344CB8AC3E}">
        <p14:creationId xmlns:p14="http://schemas.microsoft.com/office/powerpoint/2010/main" val="1635170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Inhalt">
    <p:spTree>
      <p:nvGrpSpPr>
        <p:cNvPr id="1" name=""/>
        <p:cNvGrpSpPr/>
        <p:nvPr/>
      </p:nvGrpSpPr>
      <p:grpSpPr>
        <a:xfrm>
          <a:off x="0" y="0"/>
          <a:ext cx="0" cy="0"/>
          <a:chOff x="0" y="0"/>
          <a:chExt cx="0" cy="0"/>
        </a:xfrm>
      </p:grpSpPr>
      <p:sp>
        <p:nvSpPr>
          <p:cNvPr id="14" name="Inhaltsplatzhalter 13"/>
          <p:cNvSpPr>
            <a:spLocks noGrp="1"/>
          </p:cNvSpPr>
          <p:nvPr>
            <p:ph sz="quarter" idx="13"/>
          </p:nvPr>
        </p:nvSpPr>
        <p:spPr>
          <a:xfrm>
            <a:off x="664615" y="1692000"/>
            <a:ext cx="5249785" cy="4019550"/>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Inhaltsplatzhalter 13"/>
          <p:cNvSpPr>
            <a:spLocks noGrp="1"/>
          </p:cNvSpPr>
          <p:nvPr>
            <p:ph sz="quarter" idx="17"/>
          </p:nvPr>
        </p:nvSpPr>
        <p:spPr>
          <a:xfrm>
            <a:off x="6096004" y="1692000"/>
            <a:ext cx="5416060" cy="4019550"/>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3"/>
          <p:cNvSpPr>
            <a:spLocks noGrp="1"/>
          </p:cNvSpPr>
          <p:nvPr>
            <p:ph type="dt" sz="half" idx="18"/>
          </p:nvPr>
        </p:nvSpPr>
        <p:spPr>
          <a:xfrm>
            <a:off x="6096000" y="6453337"/>
            <a:ext cx="886252" cy="142647"/>
          </a:xfrm>
          <a:prstGeom prst="rect">
            <a:avLst/>
          </a:prstGeom>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C1D3E"/>
                </a:solidFill>
                <a:effectLst/>
                <a:uLnTx/>
                <a:uFillTx/>
                <a:latin typeface="Arial"/>
                <a:ea typeface="+mn-ea"/>
                <a:cs typeface="+mn-cs"/>
              </a:rPr>
              <a:t>24.06.2021</a:t>
            </a:r>
            <a:endParaRPr kumimoji="0" lang="de-DE" sz="1800" b="0" i="0" u="none" strike="noStrike" kern="1200" cap="none" spc="0" normalizeH="0" baseline="0" noProof="0">
              <a:ln>
                <a:noFill/>
              </a:ln>
              <a:solidFill>
                <a:srgbClr val="0C1D3E"/>
              </a:solidFill>
              <a:effectLst/>
              <a:uLnTx/>
              <a:uFillTx/>
              <a:latin typeface="Arial"/>
              <a:ea typeface="+mn-ea"/>
              <a:cs typeface="+mn-cs"/>
            </a:endParaRPr>
          </a:p>
        </p:txBody>
      </p:sp>
      <p:sp>
        <p:nvSpPr>
          <p:cNvPr id="3" name="Titel 2">
            <a:extLst>
              <a:ext uri="{FF2B5EF4-FFF2-40B4-BE49-F238E27FC236}">
                <a16:creationId xmlns:a16="http://schemas.microsoft.com/office/drawing/2014/main" id="{11CDBE55-1418-9541-9268-F937D819C918}"/>
              </a:ext>
            </a:extLst>
          </p:cNvPr>
          <p:cNvSpPr>
            <a:spLocks noGrp="1"/>
          </p:cNvSpPr>
          <p:nvPr>
            <p:ph type="title"/>
          </p:nvPr>
        </p:nvSpPr>
        <p:spPr/>
        <p:txBody>
          <a:bodyPr/>
          <a:lstStyle/>
          <a:p>
            <a:r>
              <a:rPr lang="de-DE"/>
              <a:t>Mastertitelformat bearbeiten</a:t>
            </a:r>
          </a:p>
        </p:txBody>
      </p:sp>
      <p:sp>
        <p:nvSpPr>
          <p:cNvPr id="17" name="Foliennummernplatzhalter 8">
            <a:extLst>
              <a:ext uri="{FF2B5EF4-FFF2-40B4-BE49-F238E27FC236}">
                <a16:creationId xmlns:a16="http://schemas.microsoft.com/office/drawing/2014/main" id="{8376BAF2-E3A4-1846-B2EB-D3106C0B29F1}"/>
              </a:ext>
            </a:extLst>
          </p:cNvPr>
          <p:cNvSpPr>
            <a:spLocks noGrp="1"/>
          </p:cNvSpPr>
          <p:nvPr>
            <p:ph type="sldNum" sz="quarter" idx="4"/>
          </p:nvPr>
        </p:nvSpPr>
        <p:spPr>
          <a:xfrm>
            <a:off x="10932718" y="6453337"/>
            <a:ext cx="587282" cy="239633"/>
          </a:xfrm>
          <a:prstGeom prst="rect">
            <a:avLst/>
          </a:prstGeom>
        </p:spPr>
        <p:txBody>
          <a:bodyPr vert="horz" lIns="0" tIns="0" rIns="0" bIns="0" rtlCol="0" anchor="t" anchorCtr="0"/>
          <a:lstStyle>
            <a:lvl1pPr algn="r">
              <a:defRPr lang="de-DE" sz="799" kern="1200" smtClean="0">
                <a:solidFill>
                  <a:schemeClr val="accent3"/>
                </a:solidFill>
                <a:latin typeface="Arial" charset="0"/>
                <a:ea typeface="ヒラギノ角ゴ Pro W3" charset="0"/>
                <a:cs typeface="ヒラギノ角ゴ Pro W3"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8D91C70-5C3D-E148-A360-4F6F11B94339}" type="slidenum">
              <a:rPr kumimoji="0" lang="de-AT" sz="799" b="0" i="0" u="none" strike="noStrike" kern="1200" cap="none" spc="0" normalizeH="0" baseline="0" noProof="0" smtClean="0">
                <a:ln>
                  <a:noFill/>
                </a:ln>
                <a:solidFill>
                  <a:srgbClr val="A5A5A5"/>
                </a:solidFill>
                <a:effectLst/>
                <a:uLnTx/>
                <a:uFillTx/>
                <a:latin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AT" sz="799" b="0" i="0" u="none" strike="noStrike" kern="1200" cap="none" spc="0" normalizeH="0" baseline="0" noProof="0">
              <a:ln>
                <a:noFill/>
              </a:ln>
              <a:solidFill>
                <a:srgbClr val="A5A5A5"/>
              </a:solidFill>
              <a:effectLst/>
              <a:uLnTx/>
              <a:uFillTx/>
              <a:latin typeface="Arial" charset="0"/>
            </a:endParaRPr>
          </a:p>
        </p:txBody>
      </p:sp>
    </p:spTree>
    <p:extLst>
      <p:ext uri="{BB962C8B-B14F-4D97-AF65-F5344CB8AC3E}">
        <p14:creationId xmlns:p14="http://schemas.microsoft.com/office/powerpoint/2010/main" val="27477253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3.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image" Target="../media/image8.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oleObject" Target="../embeddings/oleObject3.bin"/><Relationship Id="rId2" Type="http://schemas.openxmlformats.org/officeDocument/2006/relationships/slideLayout" Target="../slideLayouts/slideLayout11.xml"/><Relationship Id="rId16" Type="http://schemas.openxmlformats.org/officeDocument/2006/relationships/image" Target="../media/image7.pn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ags" Target="../tags/tag4.xml"/><Relationship Id="rId10" Type="http://schemas.openxmlformats.org/officeDocument/2006/relationships/slideLayout" Target="../slideLayouts/slideLayout19.xml"/><Relationship Id="rId19" Type="http://schemas.openxmlformats.org/officeDocument/2006/relationships/image" Target="../media/image9.png"/><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8.emf"/><Relationship Id="rId2" Type="http://schemas.openxmlformats.org/officeDocument/2006/relationships/slideLayout" Target="../slideLayouts/slideLayout24.xml"/><Relationship Id="rId16" Type="http://schemas.openxmlformats.org/officeDocument/2006/relationships/oleObject" Target="../embeddings/oleObject4.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7.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2.sv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image" Target="../media/image1.png"/><Relationship Id="rId2" Type="http://schemas.openxmlformats.org/officeDocument/2006/relationships/slideLayout" Target="../slideLayouts/slideLayout36.xml"/><Relationship Id="rId16" Type="http://schemas.openxmlformats.org/officeDocument/2006/relationships/image" Target="../media/image4.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ags" Target="../tags/tag6.xml"/><Relationship Id="rId5" Type="http://schemas.openxmlformats.org/officeDocument/2006/relationships/slideLayout" Target="../slideLayouts/slideLayout39.xml"/><Relationship Id="rId15" Type="http://schemas.openxmlformats.org/officeDocument/2006/relationships/image" Target="../media/image3.emf"/><Relationship Id="rId10" Type="http://schemas.openxmlformats.org/officeDocument/2006/relationships/theme" Target="../theme/theme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Layout" Target="../slideLayouts/slideLayout46.xml"/><Relationship Id="rId7" Type="http://schemas.openxmlformats.org/officeDocument/2006/relationships/image" Target="../media/image11.png"/><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5.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oleObject" Target="../embeddings/oleObject6.bin"/><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2.sv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1.png"/><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tags" Target="../tags/tag7.xml"/><Relationship Id="rId4" Type="http://schemas.openxmlformats.org/officeDocument/2006/relationships/slideLayout" Target="../slideLayouts/slideLayout52.xml"/><Relationship Id="rId9" Type="http://schemas.openxmlformats.org/officeDocument/2006/relationships/theme" Target="../theme/theme6.xml"/><Relationship Id="rId14"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email">
            <a:lum/>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22D7180-819B-DDB0-971D-748B93C2D8B6}"/>
              </a:ext>
            </a:extLst>
          </p:cNvPr>
          <p:cNvGraphicFramePr>
            <a:graphicFrameLocks noChangeAspect="1"/>
          </p:cNvGraphicFramePr>
          <p:nvPr userDrawn="1">
            <p:custDataLst>
              <p:tags r:id="rId11"/>
            </p:custDataLst>
            <p:extLst>
              <p:ext uri="{D42A27DB-BD31-4B8C-83A1-F6EECF244321}">
                <p14:modId xmlns:p14="http://schemas.microsoft.com/office/powerpoint/2010/main" val="300327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540" imgH="540" progId="TCLayout.ActiveDocument.1">
                  <p:embed/>
                </p:oleObj>
              </mc:Choice>
              <mc:Fallback>
                <p:oleObj name="think-cell Folie" r:id="rId14" imgW="540" imgH="540" progId="TCLayout.ActiveDocument.1">
                  <p:embed/>
                  <p:pic>
                    <p:nvPicPr>
                      <p:cNvPr id="3" name="think-cell data - do not delete" hidden="1">
                        <a:extLst>
                          <a:ext uri="{FF2B5EF4-FFF2-40B4-BE49-F238E27FC236}">
                            <a16:creationId xmlns:a16="http://schemas.microsoft.com/office/drawing/2014/main" id="{A22D7180-819B-DDB0-971D-748B93C2D8B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2" name="Picture 10" descr="Logo&#10;&#10;Description automatically generated with low confidence">
            <a:extLst>
              <a:ext uri="{FF2B5EF4-FFF2-40B4-BE49-F238E27FC236}">
                <a16:creationId xmlns:a16="http://schemas.microsoft.com/office/drawing/2014/main" id="{004C2BA0-B9C8-CF3C-7F16-0BD86E63ADC4}"/>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9752857" y="217289"/>
            <a:ext cx="1993679" cy="729103"/>
          </a:xfrm>
          <a:prstGeom prst="rect">
            <a:avLst/>
          </a:prstGeom>
        </p:spPr>
      </p:pic>
      <p:sp>
        <p:nvSpPr>
          <p:cNvPr id="5" name="Titelplatzhalter 4">
            <a:extLst>
              <a:ext uri="{FF2B5EF4-FFF2-40B4-BE49-F238E27FC236}">
                <a16:creationId xmlns:a16="http://schemas.microsoft.com/office/drawing/2014/main" id="{AABC1FF2-7E97-2CFC-ED18-23F192628659}"/>
              </a:ext>
            </a:extLst>
          </p:cNvPr>
          <p:cNvSpPr>
            <a:spLocks noGrp="1"/>
          </p:cNvSpPr>
          <p:nvPr>
            <p:ph type="title"/>
          </p:nvPr>
        </p:nvSpPr>
        <p:spPr>
          <a:xfrm>
            <a:off x="1785464" y="177679"/>
            <a:ext cx="9568336" cy="684717"/>
          </a:xfrm>
          <a:prstGeom prst="rect">
            <a:avLst/>
          </a:prstGeom>
        </p:spPr>
        <p:txBody>
          <a:bodyPr vert="horz" lIns="91440" tIns="45720" rIns="91440" bIns="45720" rtlCol="0" anchor="ctr">
            <a:normAutofit/>
          </a:bodyPr>
          <a:lstStyle/>
          <a:p>
            <a:r>
              <a:rPr lang="de-DE"/>
              <a:t>Mastertitelformat bearbeiten</a:t>
            </a:r>
            <a:endParaRPr lang="en-US"/>
          </a:p>
        </p:txBody>
      </p:sp>
    </p:spTree>
    <p:extLst>
      <p:ext uri="{BB962C8B-B14F-4D97-AF65-F5344CB8AC3E}">
        <p14:creationId xmlns:p14="http://schemas.microsoft.com/office/powerpoint/2010/main" val="510159047"/>
      </p:ext>
    </p:extLst>
  </p:cSld>
  <p:clrMap bg1="lt1" tx1="dk1" bg2="lt2" tx2="dk2" accent1="accent1" accent2="accent2" accent3="accent3" accent4="accent4" accent5="accent5" accent6="accent6" hlink="hlink" folHlink="folHlink"/>
  <p:sldLayoutIdLst>
    <p:sldLayoutId id="2147483672" r:id="rId1"/>
    <p:sldLayoutId id="2147483677" r:id="rId2"/>
    <p:sldLayoutId id="2147483691" r:id="rId3"/>
    <p:sldLayoutId id="2147483731" r:id="rId4"/>
    <p:sldLayoutId id="2147483756" r:id="rId5"/>
    <p:sldLayoutId id="2147483757" r:id="rId6"/>
    <p:sldLayoutId id="2147483759" r:id="rId7"/>
    <p:sldLayoutId id="2147483762" r:id="rId8"/>
    <p:sldLayoutId id="2147483764" r:id="rId9"/>
  </p:sldLayoutIdLst>
  <p:hf hdr="0" ftr="0" dt="0"/>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7446D00-1AD0-0E46-B756-E26C9A548607}"/>
              </a:ext>
            </a:extLst>
          </p:cNvPr>
          <p:cNvGraphicFramePr>
            <a:graphicFrameLocks noChangeAspect="1"/>
          </p:cNvGraphicFramePr>
          <p:nvPr userDrawn="1">
            <p:custDataLst>
              <p:tags r:id="rId15"/>
            </p:custDataLst>
            <p:extLst>
              <p:ext uri="{D42A27DB-BD31-4B8C-83A1-F6EECF244321}">
                <p14:modId xmlns:p14="http://schemas.microsoft.com/office/powerpoint/2010/main" val="29469933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7" imgW="7772400" imgH="10058400" progId="TCLayout.ActiveDocument.1">
                  <p:embed/>
                </p:oleObj>
              </mc:Choice>
              <mc:Fallback>
                <p:oleObj name="think-cell Folie" r:id="rId17" imgW="7772400" imgH="10058400" progId="TCLayout.ActiveDocument.1">
                  <p:embed/>
                  <p:pic>
                    <p:nvPicPr>
                      <p:cNvPr id="10" name="Objekt 9" hidden="1">
                        <a:extLst>
                          <a:ext uri="{FF2B5EF4-FFF2-40B4-BE49-F238E27FC236}">
                            <a16:creationId xmlns:a16="http://schemas.microsoft.com/office/drawing/2014/main" id="{97446D00-1AD0-0E46-B756-E26C9A548607}"/>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FC0FE500-C7DE-594C-92B8-BDDE39AC932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LOREM IPSUM</a:t>
            </a:r>
            <a:endParaRPr lang="en-GB"/>
          </a:p>
        </p:txBody>
      </p:sp>
      <p:sp>
        <p:nvSpPr>
          <p:cNvPr id="3" name="Espace réservé du texte 2">
            <a:extLst>
              <a:ext uri="{FF2B5EF4-FFF2-40B4-BE49-F238E27FC236}">
                <a16:creationId xmlns:a16="http://schemas.microsoft.com/office/drawing/2014/main" id="{E1CCE7E7-BEB9-104C-A61B-8FEB08F9C0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err="1"/>
              <a:t>Lorem</a:t>
            </a:r>
            <a:r>
              <a:rPr lang="fr-FR"/>
              <a:t> </a:t>
            </a:r>
            <a:r>
              <a:rPr lang="fr-FR" err="1"/>
              <a:t>ipsum</a:t>
            </a:r>
            <a:endParaRPr lang="fr-FR"/>
          </a:p>
          <a:p>
            <a:pPr lvl="1"/>
            <a:r>
              <a:rPr lang="fr-FR" err="1"/>
              <a:t>Lorem</a:t>
            </a:r>
            <a:r>
              <a:rPr lang="fr-FR"/>
              <a:t> </a:t>
            </a:r>
            <a:r>
              <a:rPr lang="fr-FR" err="1"/>
              <a:t>isp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r>
              <a:rPr lang="fr-FR"/>
              <a:t> </a:t>
            </a:r>
            <a:endParaRPr lang="en-GB"/>
          </a:p>
        </p:txBody>
      </p:sp>
      <p:sp>
        <p:nvSpPr>
          <p:cNvPr id="4" name="Espace réservé de la date 3">
            <a:extLst>
              <a:ext uri="{FF2B5EF4-FFF2-40B4-BE49-F238E27FC236}">
                <a16:creationId xmlns:a16="http://schemas.microsoft.com/office/drawing/2014/main" id="{F4E6298A-5762-214F-B411-742749A901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A080B38C-9B1C-D948-9C1F-5C2D25E06E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Espace réservé du numéro de diapositive 5">
            <a:extLst>
              <a:ext uri="{FF2B5EF4-FFF2-40B4-BE49-F238E27FC236}">
                <a16:creationId xmlns:a16="http://schemas.microsoft.com/office/drawing/2014/main" id="{C8C10109-55FE-C641-92A4-8A3B73DEAA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BB0DC6-0311-9D4C-8333-A8862636E7AD}" type="slidenum">
              <a:rPr lang="en-GB" smtClean="0"/>
              <a:t>‹#›</a:t>
            </a:fld>
            <a:endParaRPr lang="en-GB"/>
          </a:p>
        </p:txBody>
      </p:sp>
      <p:pic>
        <p:nvPicPr>
          <p:cNvPr id="12" name="Picture 10" descr="Logo&#10;&#10;Description automatically generated with low confidence">
            <a:extLst>
              <a:ext uri="{FF2B5EF4-FFF2-40B4-BE49-F238E27FC236}">
                <a16:creationId xmlns:a16="http://schemas.microsoft.com/office/drawing/2014/main" id="{A02C162F-FA3D-4933-AB06-2542C62F5208}"/>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9752857" y="84769"/>
            <a:ext cx="1993679" cy="729103"/>
          </a:xfrm>
          <a:prstGeom prst="rect">
            <a:avLst/>
          </a:prstGeom>
        </p:spPr>
      </p:pic>
    </p:spTree>
    <p:extLst>
      <p:ext uri="{BB962C8B-B14F-4D97-AF65-F5344CB8AC3E}">
        <p14:creationId xmlns:p14="http://schemas.microsoft.com/office/powerpoint/2010/main" val="408196624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2" r:id="rId9"/>
    <p:sldLayoutId id="2147483723" r:id="rId10"/>
    <p:sldLayoutId id="2147483724" r:id="rId11"/>
    <p:sldLayoutId id="2147483725" r:id="rId12"/>
    <p:sldLayoutId id="2147483726" r:id="rId13"/>
  </p:sldLayoutIdLst>
  <p:txStyles>
    <p:titleStyle>
      <a:lvl1pPr algn="l" defTabSz="914400" rtl="0" eaLnBrk="1" latinLnBrk="0" hangingPunct="1">
        <a:lnSpc>
          <a:spcPct val="90000"/>
        </a:lnSpc>
        <a:spcBef>
          <a:spcPct val="0"/>
        </a:spcBef>
        <a:buNone/>
        <a:defRPr sz="4400" kern="1200">
          <a:solidFill>
            <a:srgbClr val="0A1D3E"/>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7446D00-1AD0-0E46-B756-E26C9A548607}"/>
              </a:ext>
            </a:extLst>
          </p:cNvPr>
          <p:cNvGraphicFramePr>
            <a:graphicFrameLocks noChangeAspect="1"/>
          </p:cNvGraphicFramePr>
          <p:nvPr userDrawn="1">
            <p:custDataLst>
              <p:tags r:id="rId14"/>
            </p:custDataLst>
            <p:extLst>
              <p:ext uri="{D42A27DB-BD31-4B8C-83A1-F6EECF244321}">
                <p14:modId xmlns:p14="http://schemas.microsoft.com/office/powerpoint/2010/main" val="29469933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6" imgW="7772400" imgH="10058400" progId="TCLayout.ActiveDocument.1">
                  <p:embed/>
                </p:oleObj>
              </mc:Choice>
              <mc:Fallback>
                <p:oleObj name="think-cell Folie" r:id="rId16" imgW="7772400" imgH="10058400" progId="TCLayout.ActiveDocument.1">
                  <p:embed/>
                  <p:pic>
                    <p:nvPicPr>
                      <p:cNvPr id="10" name="Objekt 9" hidden="1">
                        <a:extLst>
                          <a:ext uri="{FF2B5EF4-FFF2-40B4-BE49-F238E27FC236}">
                            <a16:creationId xmlns:a16="http://schemas.microsoft.com/office/drawing/2014/main" id="{97446D00-1AD0-0E46-B756-E26C9A548607}"/>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FC0FE500-C7DE-594C-92B8-BDDE39AC932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LOREM IPSUM</a:t>
            </a:r>
            <a:endParaRPr lang="en-GB"/>
          </a:p>
        </p:txBody>
      </p:sp>
      <p:sp>
        <p:nvSpPr>
          <p:cNvPr id="3" name="Espace réservé du texte 2">
            <a:extLst>
              <a:ext uri="{FF2B5EF4-FFF2-40B4-BE49-F238E27FC236}">
                <a16:creationId xmlns:a16="http://schemas.microsoft.com/office/drawing/2014/main" id="{E1CCE7E7-BEB9-104C-A61B-8FEB08F9C0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err="1"/>
              <a:t>Lorem</a:t>
            </a:r>
            <a:r>
              <a:rPr lang="fr-FR"/>
              <a:t> </a:t>
            </a:r>
            <a:r>
              <a:rPr lang="fr-FR" err="1"/>
              <a:t>ipsum</a:t>
            </a:r>
            <a:endParaRPr lang="fr-FR"/>
          </a:p>
          <a:p>
            <a:pPr lvl="1"/>
            <a:r>
              <a:rPr lang="fr-FR" err="1"/>
              <a:t>Lorem</a:t>
            </a:r>
            <a:r>
              <a:rPr lang="fr-FR"/>
              <a:t> </a:t>
            </a:r>
            <a:r>
              <a:rPr lang="fr-FR" err="1"/>
              <a:t>isp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r>
              <a:rPr lang="fr-FR"/>
              <a:t> </a:t>
            </a:r>
            <a:endParaRPr lang="en-GB"/>
          </a:p>
        </p:txBody>
      </p:sp>
      <p:sp>
        <p:nvSpPr>
          <p:cNvPr id="4" name="Espace réservé de la date 3">
            <a:extLst>
              <a:ext uri="{FF2B5EF4-FFF2-40B4-BE49-F238E27FC236}">
                <a16:creationId xmlns:a16="http://schemas.microsoft.com/office/drawing/2014/main" id="{F4E6298A-5762-214F-B411-742749A901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A080B38C-9B1C-D948-9C1F-5C2D25E06E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Espace réservé du numéro de diapositive 5">
            <a:extLst>
              <a:ext uri="{FF2B5EF4-FFF2-40B4-BE49-F238E27FC236}">
                <a16:creationId xmlns:a16="http://schemas.microsoft.com/office/drawing/2014/main" id="{C8C10109-55FE-C641-92A4-8A3B73DEAA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BB0DC6-0311-9D4C-8333-A8862636E7AD}" type="slidenum">
              <a:rPr lang="en-GB" smtClean="0"/>
              <a:t>‹#›</a:t>
            </a:fld>
            <a:endParaRPr lang="en-GB"/>
          </a:p>
        </p:txBody>
      </p:sp>
      <p:pic>
        <p:nvPicPr>
          <p:cNvPr id="12" name="Picture 10" descr="Logo&#10;&#10;Description automatically generated with low confidence">
            <a:extLst>
              <a:ext uri="{FF2B5EF4-FFF2-40B4-BE49-F238E27FC236}">
                <a16:creationId xmlns:a16="http://schemas.microsoft.com/office/drawing/2014/main" id="{A02C162F-FA3D-4933-AB06-2542C62F5208}"/>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9752857" y="84769"/>
            <a:ext cx="1993679" cy="729103"/>
          </a:xfrm>
          <a:prstGeom prst="rect">
            <a:avLst/>
          </a:prstGeom>
        </p:spPr>
      </p:pic>
    </p:spTree>
    <p:extLst>
      <p:ext uri="{BB962C8B-B14F-4D97-AF65-F5344CB8AC3E}">
        <p14:creationId xmlns:p14="http://schemas.microsoft.com/office/powerpoint/2010/main" val="333871116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3" r:id="rId9"/>
    <p:sldLayoutId id="2147483744" r:id="rId10"/>
    <p:sldLayoutId id="2147483745" r:id="rId11"/>
    <p:sldLayoutId id="2147483746" r:id="rId12"/>
  </p:sldLayoutIdLst>
  <p:txStyles>
    <p:titleStyle>
      <a:lvl1pPr algn="l" defTabSz="914400" rtl="0" eaLnBrk="1" latinLnBrk="0" hangingPunct="1">
        <a:lnSpc>
          <a:spcPct val="90000"/>
        </a:lnSpc>
        <a:spcBef>
          <a:spcPct val="0"/>
        </a:spcBef>
        <a:buNone/>
        <a:defRPr sz="4400" kern="1200">
          <a:solidFill>
            <a:srgbClr val="0A1D3E"/>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email">
            <a:lum/>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22D7180-819B-DDB0-971D-748B93C2D8B6}"/>
              </a:ext>
            </a:extLst>
          </p:cNvPr>
          <p:cNvGraphicFramePr>
            <a:graphicFrameLocks noChangeAspect="1"/>
          </p:cNvGraphicFramePr>
          <p:nvPr userDrawn="1">
            <p:custDataLst>
              <p:tags r:id="rId11"/>
            </p:custDataLst>
            <p:extLst>
              <p:ext uri="{D42A27DB-BD31-4B8C-83A1-F6EECF244321}">
                <p14:modId xmlns:p14="http://schemas.microsoft.com/office/powerpoint/2010/main" val="300327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540" imgH="540" progId="TCLayout.ActiveDocument.1">
                  <p:embed/>
                </p:oleObj>
              </mc:Choice>
              <mc:Fallback>
                <p:oleObj name="think-cell Folie" r:id="rId14" imgW="540" imgH="540" progId="TCLayout.ActiveDocument.1">
                  <p:embed/>
                  <p:pic>
                    <p:nvPicPr>
                      <p:cNvPr id="3" name="think-cell data - do not delete" hidden="1">
                        <a:extLst>
                          <a:ext uri="{FF2B5EF4-FFF2-40B4-BE49-F238E27FC236}">
                            <a16:creationId xmlns:a16="http://schemas.microsoft.com/office/drawing/2014/main" id="{A22D7180-819B-DDB0-971D-748B93C2D8B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2" name="Picture 10" descr="Logo&#10;&#10;Description automatically generated with low confidence">
            <a:extLst>
              <a:ext uri="{FF2B5EF4-FFF2-40B4-BE49-F238E27FC236}">
                <a16:creationId xmlns:a16="http://schemas.microsoft.com/office/drawing/2014/main" id="{004C2BA0-B9C8-CF3C-7F16-0BD86E63ADC4}"/>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9752857" y="217289"/>
            <a:ext cx="1993679" cy="729103"/>
          </a:xfrm>
          <a:prstGeom prst="rect">
            <a:avLst/>
          </a:prstGeom>
        </p:spPr>
      </p:pic>
      <p:sp>
        <p:nvSpPr>
          <p:cNvPr id="5" name="Titelplatzhalter 4">
            <a:extLst>
              <a:ext uri="{FF2B5EF4-FFF2-40B4-BE49-F238E27FC236}">
                <a16:creationId xmlns:a16="http://schemas.microsoft.com/office/drawing/2014/main" id="{AABC1FF2-7E97-2CFC-ED18-23F192628659}"/>
              </a:ext>
            </a:extLst>
          </p:cNvPr>
          <p:cNvSpPr>
            <a:spLocks noGrp="1"/>
          </p:cNvSpPr>
          <p:nvPr>
            <p:ph type="title"/>
          </p:nvPr>
        </p:nvSpPr>
        <p:spPr>
          <a:xfrm>
            <a:off x="1785464" y="177679"/>
            <a:ext cx="9568336" cy="684717"/>
          </a:xfrm>
          <a:prstGeom prst="rect">
            <a:avLst/>
          </a:prstGeom>
        </p:spPr>
        <p:txBody>
          <a:bodyPr vert="horz" lIns="91440" tIns="45720" rIns="91440" bIns="45720" rtlCol="0" anchor="ctr">
            <a:normAutofit/>
          </a:bodyPr>
          <a:lstStyle/>
          <a:p>
            <a:r>
              <a:rPr lang="de-DE"/>
              <a:t>Mastertitelformat bearbeiten</a:t>
            </a:r>
            <a:endParaRPr lang="en-US"/>
          </a:p>
        </p:txBody>
      </p:sp>
    </p:spTree>
    <p:extLst>
      <p:ext uri="{BB962C8B-B14F-4D97-AF65-F5344CB8AC3E}">
        <p14:creationId xmlns:p14="http://schemas.microsoft.com/office/powerpoint/2010/main" val="2735930054"/>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1" r:id="rId3"/>
    <p:sldLayoutId id="2147483752" r:id="rId4"/>
    <p:sldLayoutId id="2147483753" r:id="rId5"/>
    <p:sldLayoutId id="2147483754" r:id="rId6"/>
    <p:sldLayoutId id="2147483760" r:id="rId7"/>
    <p:sldLayoutId id="2147483765" r:id="rId8"/>
    <p:sldLayoutId id="2147483772" r:id="rId9"/>
  </p:sldLayoutIdLst>
  <p:hf hdr="0" ftr="0" dt="0"/>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extLst>
              <a:ext uri="{96DAC541-7B7A-43D3-8B79-37D633B846F1}">
                <asvg:svgBlip xmlns:asvg="http://schemas.microsoft.com/office/drawing/2016/SVG/main" r:embed="rId8"/>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20293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email">
            <a:lum/>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22D7180-819B-DDB0-971D-748B93C2D8B6}"/>
              </a:ext>
            </a:extLst>
          </p:cNvPr>
          <p:cNvGraphicFramePr>
            <a:graphicFrameLocks noChangeAspect="1"/>
          </p:cNvGraphicFramePr>
          <p:nvPr userDrawn="1">
            <p:custDataLst>
              <p:tags r:id="rId10"/>
            </p:custDataLst>
            <p:extLst>
              <p:ext uri="{D42A27DB-BD31-4B8C-83A1-F6EECF244321}">
                <p14:modId xmlns:p14="http://schemas.microsoft.com/office/powerpoint/2010/main" val="300327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540" imgH="540" progId="TCLayout.ActiveDocument.1">
                  <p:embed/>
                </p:oleObj>
              </mc:Choice>
              <mc:Fallback>
                <p:oleObj name="think-cell Folie" r:id="rId13" imgW="540" imgH="540" progId="TCLayout.ActiveDocument.1">
                  <p:embed/>
                  <p:pic>
                    <p:nvPicPr>
                      <p:cNvPr id="3" name="think-cell data - do not delete" hidden="1">
                        <a:extLst>
                          <a:ext uri="{FF2B5EF4-FFF2-40B4-BE49-F238E27FC236}">
                            <a16:creationId xmlns:a16="http://schemas.microsoft.com/office/drawing/2014/main" id="{A22D7180-819B-DDB0-971D-748B93C2D8B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2" name="Picture 10" descr="Logo&#10;&#10;Description automatically generated with low confidence">
            <a:extLst>
              <a:ext uri="{FF2B5EF4-FFF2-40B4-BE49-F238E27FC236}">
                <a16:creationId xmlns:a16="http://schemas.microsoft.com/office/drawing/2014/main" id="{004C2BA0-B9C8-CF3C-7F16-0BD86E63ADC4}"/>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9752857" y="217289"/>
            <a:ext cx="1993679" cy="729103"/>
          </a:xfrm>
          <a:prstGeom prst="rect">
            <a:avLst/>
          </a:prstGeom>
        </p:spPr>
      </p:pic>
      <p:sp>
        <p:nvSpPr>
          <p:cNvPr id="5" name="Titelplatzhalter 4">
            <a:extLst>
              <a:ext uri="{FF2B5EF4-FFF2-40B4-BE49-F238E27FC236}">
                <a16:creationId xmlns:a16="http://schemas.microsoft.com/office/drawing/2014/main" id="{AABC1FF2-7E97-2CFC-ED18-23F192628659}"/>
              </a:ext>
            </a:extLst>
          </p:cNvPr>
          <p:cNvSpPr>
            <a:spLocks noGrp="1"/>
          </p:cNvSpPr>
          <p:nvPr>
            <p:ph type="title"/>
          </p:nvPr>
        </p:nvSpPr>
        <p:spPr>
          <a:xfrm>
            <a:off x="1785464" y="177679"/>
            <a:ext cx="9568336" cy="684717"/>
          </a:xfrm>
          <a:prstGeom prst="rect">
            <a:avLst/>
          </a:prstGeom>
        </p:spPr>
        <p:txBody>
          <a:bodyPr vert="horz" lIns="91440" tIns="45720" rIns="91440" bIns="45720" rtlCol="0" anchor="ctr">
            <a:normAutofit/>
          </a:bodyPr>
          <a:lstStyle/>
          <a:p>
            <a:r>
              <a:rPr lang="de-DE"/>
              <a:t>Mastertitelformat bearbeiten</a:t>
            </a:r>
            <a:endParaRPr lang="en-US"/>
          </a:p>
        </p:txBody>
      </p:sp>
    </p:spTree>
    <p:extLst>
      <p:ext uri="{BB962C8B-B14F-4D97-AF65-F5344CB8AC3E}">
        <p14:creationId xmlns:p14="http://schemas.microsoft.com/office/powerpoint/2010/main" val="3784096578"/>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Lst>
  <p:hf hdr="0" ftr="0" dt="0"/>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8.xml"/><Relationship Id="rId1" Type="http://schemas.openxmlformats.org/officeDocument/2006/relationships/tags" Target="../tags/tag8.xml"/><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5.xml"/><Relationship Id="rId1" Type="http://schemas.openxmlformats.org/officeDocument/2006/relationships/themeOverride" Target="../theme/themeOverride3.xml"/><Relationship Id="rId4" Type="http://schemas.openxmlformats.org/officeDocument/2006/relationships/image" Target="../media/image12.sv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5.xml"/><Relationship Id="rId1" Type="http://schemas.openxmlformats.org/officeDocument/2006/relationships/themeOverride" Target="../theme/themeOverride4.xml"/><Relationship Id="rId4" Type="http://schemas.openxmlformats.org/officeDocument/2006/relationships/image" Target="../media/image12.sv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8.xml"/><Relationship Id="rId1" Type="http://schemas.openxmlformats.org/officeDocument/2006/relationships/tags" Target="../tags/tag1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8.xml"/><Relationship Id="rId1" Type="http://schemas.openxmlformats.org/officeDocument/2006/relationships/tags" Target="../tags/tag14.xml"/><Relationship Id="rId4" Type="http://schemas.openxmlformats.org/officeDocument/2006/relationships/image" Target="../media/image50.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54.png"/><Relationship Id="rId2" Type="http://schemas.openxmlformats.org/officeDocument/2006/relationships/slideLayout" Target="../slideLayouts/slideLayout38.xml"/><Relationship Id="rId1" Type="http://schemas.openxmlformats.org/officeDocument/2006/relationships/tags" Target="../tags/tag15.xml"/><Relationship Id="rId6" Type="http://schemas.openxmlformats.org/officeDocument/2006/relationships/image" Target="../media/image53.png"/><Relationship Id="rId5" Type="http://schemas.openxmlformats.org/officeDocument/2006/relationships/image" Target="../media/image50.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8.xml"/><Relationship Id="rId1" Type="http://schemas.openxmlformats.org/officeDocument/2006/relationships/tags" Target="../tags/tag16.xml"/><Relationship Id="rId5" Type="http://schemas.openxmlformats.org/officeDocument/2006/relationships/image" Target="../media/image50.emf"/><Relationship Id="rId4" Type="http://schemas.openxmlformats.org/officeDocument/2006/relationships/oleObject" Target="../embeddings/oleObject15.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8.xml"/><Relationship Id="rId1" Type="http://schemas.openxmlformats.org/officeDocument/2006/relationships/tags" Target="../tags/tag17.xml"/><Relationship Id="rId5" Type="http://schemas.openxmlformats.org/officeDocument/2006/relationships/image" Target="../media/image50.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25.jpeg"/><Relationship Id="rId2" Type="http://schemas.openxmlformats.org/officeDocument/2006/relationships/slideLayout" Target="../slideLayouts/slideLayout45.xml"/><Relationship Id="rId1" Type="http://schemas.openxmlformats.org/officeDocument/2006/relationships/themeOverride" Target="../theme/themeOverride1.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12.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8.xml"/><Relationship Id="rId1" Type="http://schemas.openxmlformats.org/officeDocument/2006/relationships/tags" Target="../tags/tag18.xml"/><Relationship Id="rId4" Type="http://schemas.openxmlformats.org/officeDocument/2006/relationships/image" Target="../media/image50.emf"/></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5.xml"/><Relationship Id="rId1" Type="http://schemas.openxmlformats.org/officeDocument/2006/relationships/themeOverride" Target="../theme/themeOverride5.xml"/><Relationship Id="rId4" Type="http://schemas.openxmlformats.org/officeDocument/2006/relationships/image" Target="../media/image12.sv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57.emf"/><Relationship Id="rId4" Type="http://schemas.openxmlformats.org/officeDocument/2006/relationships/oleObject" Target="../embeddings/oleObject18.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2.xml"/><Relationship Id="rId7" Type="http://schemas.openxmlformats.org/officeDocument/2006/relationships/image" Target="../media/image58.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7.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0.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57.emf"/><Relationship Id="rId4" Type="http://schemas.openxmlformats.org/officeDocument/2006/relationships/oleObject" Target="../embeddings/oleObject21.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5.xml"/><Relationship Id="rId1" Type="http://schemas.openxmlformats.org/officeDocument/2006/relationships/themeOverride" Target="../theme/themeOverride6.xml"/><Relationship Id="rId4" Type="http://schemas.openxmlformats.org/officeDocument/2006/relationships/image" Target="../media/image12.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5.xml"/><Relationship Id="rId1" Type="http://schemas.openxmlformats.org/officeDocument/2006/relationships/themeOverride" Target="../theme/themeOverride7.xml"/><Relationship Id="rId4" Type="http://schemas.openxmlformats.org/officeDocument/2006/relationships/image" Target="../media/image12.sv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hyperlink" Target="https://ec.europa.eu/eusurvey/runner/DACIdentificationGridforOperation" TargetMode="External"/><Relationship Id="rId5" Type="http://schemas.openxmlformats.org/officeDocument/2006/relationships/image" Target="../media/image6.emf"/><Relationship Id="rId4" Type="http://schemas.openxmlformats.org/officeDocument/2006/relationships/oleObject" Target="../embeddings/oleObject23.bin"/></Relationships>
</file>

<file path=ppt/slides/_rels/slide32.xml.rels><?xml version="1.0" encoding="UTF-8" standalone="yes"?>
<Relationships xmlns="http://schemas.openxmlformats.org/package/2006/relationships"><Relationship Id="rId8" Type="http://schemas.openxmlformats.org/officeDocument/2006/relationships/hyperlink" Target="mailto:Henon@uic.org" TargetMode="External"/><Relationship Id="rId3" Type="http://schemas.openxmlformats.org/officeDocument/2006/relationships/slideLayout" Target="../slideLayouts/slideLayout41.xml"/><Relationship Id="rId7" Type="http://schemas.openxmlformats.org/officeDocument/2006/relationships/hyperlink" Target="mailto:Johannes.Graeber@knorr-bremse.com" TargetMode="Externa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9.png"/><Relationship Id="rId5" Type="http://schemas.openxmlformats.org/officeDocument/2006/relationships/image" Target="../media/image6.emf"/><Relationship Id="rId4" Type="http://schemas.openxmlformats.org/officeDocument/2006/relationships/oleObject" Target="../embeddings/oleObject24.bin"/><Relationship Id="rId9" Type="http://schemas.openxmlformats.org/officeDocument/2006/relationships/hyperlink" Target="mailto:Karel.vangils@rail-research.europa.e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5.xml"/><Relationship Id="rId1" Type="http://schemas.openxmlformats.org/officeDocument/2006/relationships/themeOverride" Target="../theme/themeOverride2.xml"/><Relationship Id="rId4"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8.xml"/><Relationship Id="rId1" Type="http://schemas.openxmlformats.org/officeDocument/2006/relationships/tags" Target="../tags/tag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2.xml"/><Relationship Id="rId1" Type="http://schemas.openxmlformats.org/officeDocument/2006/relationships/tags" Target="../tags/tag10.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6.emf"/></Relationships>
</file>

<file path=ppt/slides/_rels/slide7.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oleObject" Target="../embeddings/oleObject10.bin"/><Relationship Id="rId7" Type="http://schemas.openxmlformats.org/officeDocument/2006/relationships/image" Target="../media/image33.jpeg"/><Relationship Id="rId2" Type="http://schemas.openxmlformats.org/officeDocument/2006/relationships/slideLayout" Target="../slideLayouts/slideLayout9.xml"/><Relationship Id="rId1" Type="http://schemas.openxmlformats.org/officeDocument/2006/relationships/tags" Target="../tags/tag11.xml"/><Relationship Id="rId6" Type="http://schemas.openxmlformats.org/officeDocument/2006/relationships/image" Target="../media/image32.jpeg"/><Relationship Id="rId5" Type="http://schemas.openxmlformats.org/officeDocument/2006/relationships/image" Target="../media/image31.jpeg"/><Relationship Id="rId10" Type="http://schemas.openxmlformats.org/officeDocument/2006/relationships/image" Target="../media/image36.jpeg"/><Relationship Id="rId4" Type="http://schemas.openxmlformats.org/officeDocument/2006/relationships/image" Target="../media/image26.emf"/><Relationship Id="rId9" Type="http://schemas.openxmlformats.org/officeDocument/2006/relationships/image" Target="../media/image35.jpe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notesSlide" Target="../notesSlides/notesSlide3.xml"/><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slideLayout" Target="../slideLayouts/slideLayout4.xml"/><Relationship Id="rId16" Type="http://schemas.openxmlformats.org/officeDocument/2006/relationships/image" Target="../media/image47.svg"/><Relationship Id="rId1" Type="http://schemas.openxmlformats.org/officeDocument/2006/relationships/tags" Target="../tags/tag12.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6.emf"/><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oleObject" Target="../embeddings/oleObject11.bin"/><Relationship Id="rId9" Type="http://schemas.openxmlformats.org/officeDocument/2006/relationships/image" Target="../media/image40.png"/><Relationship Id="rId1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E82954B-3819-615F-62A1-83C19A2DCB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think-cell data - do not delete" hidden="1">
                        <a:extLst>
                          <a:ext uri="{FF2B5EF4-FFF2-40B4-BE49-F238E27FC236}">
                            <a16:creationId xmlns:a16="http://schemas.microsoft.com/office/drawing/2014/main" id="{3E82954B-3819-615F-62A1-83C19A2DCB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Espace réservé du texte 2">
            <a:extLst>
              <a:ext uri="{FF2B5EF4-FFF2-40B4-BE49-F238E27FC236}">
                <a16:creationId xmlns:a16="http://schemas.microsoft.com/office/drawing/2014/main" id="{4E32B26B-B689-FEB6-D8C3-549AFFC87457}"/>
              </a:ext>
            </a:extLst>
          </p:cNvPr>
          <p:cNvSpPr txBox="1">
            <a:spLocks/>
          </p:cNvSpPr>
          <p:nvPr/>
        </p:nvSpPr>
        <p:spPr>
          <a:xfrm>
            <a:off x="1350628" y="1710893"/>
            <a:ext cx="9529893" cy="1458951"/>
          </a:xfrm>
        </p:spPr>
        <p:txBody>
          <a:bodyPr lIns="91440" tIns="45720" rIns="91440" bIns="45720" anchor="t">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3600" b="1">
                <a:solidFill>
                  <a:schemeClr val="tx2"/>
                </a:solidFill>
              </a:rPr>
              <a:t>DAC programme</a:t>
            </a:r>
            <a:endParaRPr lang="en-GB" sz="3600" b="1">
              <a:solidFill>
                <a:schemeClr val="tx2"/>
              </a:solidFill>
              <a:cs typeface="Arial"/>
            </a:endParaRPr>
          </a:p>
          <a:p>
            <a:pPr algn="ctr"/>
            <a:r>
              <a:rPr lang="en-GB" sz="3600" b="1">
                <a:solidFill>
                  <a:schemeClr val="tx2"/>
                </a:solidFill>
              </a:rPr>
              <a:t>and </a:t>
            </a:r>
            <a:endParaRPr lang="en-GB" sz="3600" b="1">
              <a:solidFill>
                <a:schemeClr val="tx2"/>
              </a:solidFill>
              <a:cs typeface="Arial"/>
            </a:endParaRPr>
          </a:p>
          <a:p>
            <a:pPr algn="ctr"/>
            <a:r>
              <a:rPr lang="en-GB" sz="3600" b="1">
                <a:solidFill>
                  <a:schemeClr val="tx2"/>
                </a:solidFill>
              </a:rPr>
              <a:t>Interaction with ERTMS</a:t>
            </a:r>
            <a:endParaRPr lang="en-GB" sz="3600" b="1">
              <a:solidFill>
                <a:schemeClr val="tx2"/>
              </a:solidFill>
              <a:cs typeface="Arial"/>
            </a:endParaRPr>
          </a:p>
          <a:p>
            <a:endParaRPr lang="fr-BE"/>
          </a:p>
        </p:txBody>
      </p:sp>
      <p:sp>
        <p:nvSpPr>
          <p:cNvPr id="5" name="Text Placeholder 1">
            <a:extLst>
              <a:ext uri="{FF2B5EF4-FFF2-40B4-BE49-F238E27FC236}">
                <a16:creationId xmlns:a16="http://schemas.microsoft.com/office/drawing/2014/main" id="{C7A77F06-07D7-4510-85D3-69D6A9B811B2}"/>
              </a:ext>
            </a:extLst>
          </p:cNvPr>
          <p:cNvSpPr txBox="1">
            <a:spLocks/>
          </p:cNvSpPr>
          <p:nvPr/>
        </p:nvSpPr>
        <p:spPr>
          <a:xfrm>
            <a:off x="2403445" y="4504501"/>
            <a:ext cx="7424257" cy="964144"/>
          </a:xfrm>
          <a:prstGeom prst="rect">
            <a:avLst/>
          </a:prstGeom>
        </p:spPr>
        <p:txBody>
          <a:bodyPr lIns="91440" tIns="45720" rIns="91440" bIns="4572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rgbClr val="97C62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GB" sz="2400" i="1">
                <a:latin typeface="Arial"/>
              </a:rPr>
              <a:t>Workshop ERA</a:t>
            </a:r>
            <a:r>
              <a:rPr kumimoji="0" lang="en-GB" sz="2400" b="1" i="1" u="none" strike="noStrike" kern="1200" cap="none" spc="0" normalizeH="0" baseline="0" noProof="0">
                <a:ln>
                  <a:noFill/>
                </a:ln>
                <a:solidFill>
                  <a:srgbClr val="97C62E"/>
                </a:solidFill>
                <a:effectLst/>
                <a:uLnTx/>
                <a:uFillTx/>
                <a:latin typeface="Arial"/>
                <a:ea typeface="+mn-ea"/>
                <a:cs typeface="+mn-cs"/>
              </a:rPr>
              <a:t> conferenc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1" u="none" strike="noStrike" kern="1200" cap="none" spc="0" normalizeH="0" baseline="0" noProof="0">
                <a:ln>
                  <a:noFill/>
                </a:ln>
                <a:solidFill>
                  <a:srgbClr val="97C62E"/>
                </a:solidFill>
                <a:effectLst/>
                <a:uLnTx/>
                <a:uFillTx/>
                <a:latin typeface="Arial"/>
                <a:ea typeface="+mn-ea"/>
                <a:cs typeface="+mn-cs"/>
              </a:rPr>
              <a:t>Valenciennes, 23 April 2024</a:t>
            </a:r>
            <a:endParaRPr kumimoji="0" lang="en-US" sz="2400" b="1" i="0" u="none" strike="noStrike" kern="1200" cap="none" spc="0" normalizeH="0" baseline="0" noProof="0">
              <a:ln>
                <a:noFill/>
              </a:ln>
              <a:solidFill>
                <a:srgbClr val="97C62E"/>
              </a:solidFill>
              <a:effectLst/>
              <a:uLnTx/>
              <a:uFillTx/>
              <a:latin typeface="Arial"/>
              <a:ea typeface="+mn-ea"/>
              <a:cs typeface="+mn-cs"/>
            </a:endParaRPr>
          </a:p>
        </p:txBody>
      </p:sp>
    </p:spTree>
    <p:extLst>
      <p:ext uri="{BB962C8B-B14F-4D97-AF65-F5344CB8AC3E}">
        <p14:creationId xmlns:p14="http://schemas.microsoft.com/office/powerpoint/2010/main" val="582755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2D23194D-58BA-D2FE-7325-834A09E6C94D}"/>
              </a:ext>
            </a:extLst>
          </p:cNvPr>
          <p:cNvGrpSpPr/>
          <p:nvPr/>
        </p:nvGrpSpPr>
        <p:grpSpPr>
          <a:xfrm>
            <a:off x="3733621" y="1629289"/>
            <a:ext cx="1638302" cy="3259466"/>
            <a:chOff x="4010998" y="856963"/>
            <a:chExt cx="1638302" cy="4691342"/>
          </a:xfrm>
        </p:grpSpPr>
        <p:cxnSp>
          <p:nvCxnSpPr>
            <p:cNvPr id="75" name="Gerader Verbinder 59">
              <a:extLst>
                <a:ext uri="{FF2B5EF4-FFF2-40B4-BE49-F238E27FC236}">
                  <a16:creationId xmlns:a16="http://schemas.microsoft.com/office/drawing/2014/main" id="{92FEA4D6-498C-3C9A-AEB6-E187675F21C3}"/>
                </a:ext>
              </a:extLst>
            </p:cNvPr>
            <p:cNvCxnSpPr>
              <a:cxnSpLocks/>
            </p:cNvCxnSpPr>
            <p:nvPr/>
          </p:nvCxnSpPr>
          <p:spPr>
            <a:xfrm>
              <a:off x="5639773" y="856963"/>
              <a:ext cx="9527" cy="4691342"/>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Gerader Verbinder 59">
              <a:extLst>
                <a:ext uri="{FF2B5EF4-FFF2-40B4-BE49-F238E27FC236}">
                  <a16:creationId xmlns:a16="http://schemas.microsoft.com/office/drawing/2014/main" id="{C70B0CBD-A007-D0B8-BE26-A50E632025A5}"/>
                </a:ext>
              </a:extLst>
            </p:cNvPr>
            <p:cNvCxnSpPr>
              <a:cxnSpLocks/>
            </p:cNvCxnSpPr>
            <p:nvPr/>
          </p:nvCxnSpPr>
          <p:spPr>
            <a:xfrm>
              <a:off x="4010998" y="856963"/>
              <a:ext cx="9527" cy="4691342"/>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4" name="Rectangle: Single Corner Snipped 3">
            <a:extLst>
              <a:ext uri="{FF2B5EF4-FFF2-40B4-BE49-F238E27FC236}">
                <a16:creationId xmlns:a16="http://schemas.microsoft.com/office/drawing/2014/main" id="{8ED1B2E5-7824-7F34-180A-5AEC7CE5CD3B}"/>
              </a:ext>
            </a:extLst>
          </p:cNvPr>
          <p:cNvSpPr/>
          <p:nvPr/>
        </p:nvSpPr>
        <p:spPr>
          <a:xfrm rot="10800000">
            <a:off x="3776080" y="2756004"/>
            <a:ext cx="1511376" cy="672575"/>
          </a:xfrm>
          <a:prstGeom prst="snip1Rect">
            <a:avLst>
              <a:gd name="adj" fmla="val 50000"/>
            </a:avLst>
          </a:prstGeom>
          <a:solidFill>
            <a:schemeClr val="accent4">
              <a:lumMod val="40000"/>
              <a:lumOff val="60000"/>
              <a:alpha val="50000"/>
            </a:schemeClr>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36000" bIns="108000" rtlCol="0" anchor="ctr">
            <a:noAutofit/>
          </a:bodyPr>
          <a:lstStyle/>
          <a:p>
            <a:pPr algn="ctr">
              <a:lnSpc>
                <a:spcPts val="1200"/>
              </a:lnSpc>
            </a:pPr>
            <a:endParaRPr lang="en-GB" sz="1200" b="1">
              <a:solidFill>
                <a:prstClr val="white">
                  <a:lumMod val="50000"/>
                </a:prstClr>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744BF2CC-5F0D-4E1D-D244-5E2122B72F67}"/>
              </a:ext>
            </a:extLst>
          </p:cNvPr>
          <p:cNvSpPr txBox="1"/>
          <p:nvPr/>
        </p:nvSpPr>
        <p:spPr>
          <a:xfrm>
            <a:off x="3938786" y="2852117"/>
            <a:ext cx="1407380" cy="556178"/>
          </a:xfrm>
          <a:prstGeom prst="rect">
            <a:avLst/>
          </a:prstGeom>
          <a:noFill/>
        </p:spPr>
        <p:txBody>
          <a:bodyPr wrap="square" rtlCol="0">
            <a:sp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DAC pre- </a:t>
            </a:r>
            <a:b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b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deployment trains </a:t>
            </a:r>
            <a:b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b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     </a:t>
            </a:r>
            <a:r>
              <a:rPr kumimoji="0" lang="en-GB" sz="1200" b="0"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 (100 in EU)</a:t>
            </a:r>
          </a:p>
        </p:txBody>
      </p:sp>
      <p:sp>
        <p:nvSpPr>
          <p:cNvPr id="134" name="Rechteck 3">
            <a:extLst>
              <a:ext uri="{FF2B5EF4-FFF2-40B4-BE49-F238E27FC236}">
                <a16:creationId xmlns:a16="http://schemas.microsoft.com/office/drawing/2014/main" id="{643906E6-B162-AC05-1BA2-C132DE64D428}"/>
              </a:ext>
            </a:extLst>
          </p:cNvPr>
          <p:cNvSpPr/>
          <p:nvPr/>
        </p:nvSpPr>
        <p:spPr>
          <a:xfrm>
            <a:off x="1056617" y="2065553"/>
            <a:ext cx="2936201" cy="621545"/>
          </a:xfrm>
          <a:prstGeom prst="rect">
            <a:avLst/>
          </a:prstGeom>
          <a:solidFill>
            <a:schemeClr val="bg1">
              <a:lumMod val="75000"/>
              <a:alpha val="50000"/>
            </a:schemeClr>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Ins="504000" rtlCol="0" anchor="ctr"/>
          <a:lstStyle/>
          <a:p>
            <a:pPr marL="88900" marR="0" lvl="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Technology Development</a:t>
            </a:r>
          </a:p>
          <a:p>
            <a:pPr marL="88900" marR="0" lvl="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incl. component testing and 4 demo trains</a:t>
            </a:r>
            <a:r>
              <a:rPr kumimoji="0" lang="en-GB" sz="8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a:t>
            </a:r>
          </a:p>
          <a:p>
            <a:pPr marL="88900" marR="0" lvl="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ER JU FP5 FDFTO + ER JU SP)</a:t>
            </a:r>
          </a:p>
        </p:txBody>
      </p:sp>
      <p:sp>
        <p:nvSpPr>
          <p:cNvPr id="56" name="Textfeld 55"/>
          <p:cNvSpPr txBox="1"/>
          <p:nvPr/>
        </p:nvSpPr>
        <p:spPr>
          <a:xfrm>
            <a:off x="9909776" y="4268664"/>
            <a:ext cx="1812225"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Determining milestone: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sym typeface="Wingdings" panose="05000000000000000000" pitchFamily="2" charset="2"/>
              </a:rPr>
              <a:t>DAC Legal </a:t>
            </a:r>
            <a:r>
              <a:rPr kumimoji="0" lang="en-GB" sz="1200" b="1"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sym typeface="Wingdings" panose="05000000000000000000" pitchFamily="2" charset="2"/>
              </a:rPr>
              <a:t>P</a:t>
            </a: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sym typeface="Wingdings" panose="05000000000000000000" pitchFamily="2" charset="2"/>
              </a:rPr>
              <a:t>ackage to be implemented before this deadline</a:t>
            </a:r>
            <a:endPar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endParaRPr>
          </a:p>
        </p:txBody>
      </p:sp>
      <p:sp>
        <p:nvSpPr>
          <p:cNvPr id="132" name="Textfeld 131"/>
          <p:cNvSpPr txBox="1"/>
          <p:nvPr/>
        </p:nvSpPr>
        <p:spPr>
          <a:xfrm>
            <a:off x="9823111" y="3118086"/>
            <a:ext cx="19453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schemeClr val="accent6"/>
                </a:solidFill>
                <a:effectLst/>
                <a:uLnTx/>
                <a:uFillTx/>
                <a:latin typeface="Calibri" panose="020F0502020204030204" pitchFamily="34" charset="0"/>
                <a:cs typeface="Calibri" panose="020F0502020204030204" pitchFamily="34" charset="0"/>
              </a:rPr>
              <a:t>Budget and resource need</a:t>
            </a:r>
            <a:br>
              <a:rPr kumimoji="0" lang="en-GB" sz="1200" b="0" i="0" u="none" strike="noStrike" kern="1200" cap="none" spc="0" normalizeH="0" baseline="0">
                <a:ln>
                  <a:noFill/>
                </a:ln>
                <a:solidFill>
                  <a:schemeClr val="accent6"/>
                </a:solidFill>
                <a:effectLst/>
                <a:uLnTx/>
                <a:uFillTx/>
                <a:latin typeface="Calibri" panose="020F0502020204030204" pitchFamily="34" charset="0"/>
                <a:cs typeface="Calibri" panose="020F0502020204030204" pitchFamily="34" charset="0"/>
              </a:rPr>
            </a:br>
            <a:r>
              <a:rPr kumimoji="0" lang="en-GB" sz="1200" b="0" i="0" u="none" strike="noStrike" kern="1200" cap="none" spc="0" normalizeH="0" baseline="0">
                <a:ln>
                  <a:noFill/>
                </a:ln>
                <a:solidFill>
                  <a:schemeClr val="accent6"/>
                </a:solidFill>
                <a:effectLst/>
                <a:uLnTx/>
                <a:uFillTx/>
                <a:latin typeface="Calibri" panose="020F0502020204030204" pitchFamily="34" charset="0"/>
                <a:cs typeface="Calibri" panose="020F0502020204030204" pitchFamily="34" charset="0"/>
              </a:rPr>
              <a:t>(already funded)</a:t>
            </a:r>
          </a:p>
        </p:txBody>
      </p:sp>
      <p:sp>
        <p:nvSpPr>
          <p:cNvPr id="11" name="Textfeld 99">
            <a:extLst>
              <a:ext uri="{FF2B5EF4-FFF2-40B4-BE49-F238E27FC236}">
                <a16:creationId xmlns:a16="http://schemas.microsoft.com/office/drawing/2014/main" id="{91B931E0-1D1E-ADA4-ED62-FA6B9AFDBC77}"/>
              </a:ext>
            </a:extLst>
          </p:cNvPr>
          <p:cNvSpPr txBox="1"/>
          <p:nvPr/>
        </p:nvSpPr>
        <p:spPr>
          <a:xfrm>
            <a:off x="9621685" y="1711812"/>
            <a:ext cx="2372598" cy="124649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a:ln>
                  <a:noFill/>
                </a:ln>
                <a:solidFill>
                  <a:prstClr val="black"/>
                </a:solidFill>
                <a:effectLst/>
                <a:uLnTx/>
                <a:uFillTx/>
                <a:latin typeface="Calibri" panose="020F0502020204030204" pitchFamily="34" charset="0"/>
                <a:cs typeface="Calibri" panose="020F0502020204030204" pitchFamily="34" charset="0"/>
              </a:rPr>
              <a:t>Major amendments/NEW</a:t>
            </a:r>
            <a:r>
              <a:rPr kumimoji="0" lang="en-GB" sz="1200" b="0" i="0" u="none" strike="noStrike" kern="1200" cap="none" spc="0" normalizeH="0" baseline="0">
                <a:ln>
                  <a:noFill/>
                </a:ln>
                <a:solidFill>
                  <a:prstClr val="black"/>
                </a:solidFill>
                <a:effectLst/>
                <a:uLnTx/>
                <a:uFillTx/>
                <a:latin typeface="Calibri" panose="020F0502020204030204" pitchFamily="34" charset="0"/>
                <a:cs typeface="Calibri" panose="020F0502020204030204" pitchFamily="34" charset="0"/>
              </a:rPr>
              <a:t>:</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200" b="0" i="0" u="none" strike="noStrike" kern="1200" cap="none" spc="0" normalizeH="0" baseline="0">
                <a:ln>
                  <a:noFill/>
                </a:ln>
                <a:solidFill>
                  <a:prstClr val="black"/>
                </a:solidFill>
                <a:effectLst/>
                <a:uLnTx/>
                <a:uFillTx/>
                <a:latin typeface="Calibri" panose="020F0502020204030204" pitchFamily="34" charset="0"/>
                <a:cs typeface="Calibri" panose="020F0502020204030204" pitchFamily="34" charset="0"/>
              </a:rPr>
              <a:t>DAC pilot deployment projects</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200" b="0" i="0" u="none" strike="noStrike" kern="1200" cap="none" spc="0" normalizeH="0" baseline="0">
                <a:ln>
                  <a:noFill/>
                </a:ln>
                <a:solidFill>
                  <a:prstClr val="black"/>
                </a:solidFill>
                <a:effectLst/>
                <a:uLnTx/>
                <a:uFillTx/>
                <a:latin typeface="Calibri" panose="020F0502020204030204" pitchFamily="34" charset="0"/>
                <a:cs typeface="Calibri" panose="020F0502020204030204" pitchFamily="34" charset="0"/>
              </a:rPr>
              <a:t>DAC framework conditions develop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200" b="0" i="0" u="none" strike="noStrike" kern="1200" cap="none" spc="0" normalizeH="0" baseline="0">
                <a:ln>
                  <a:noFill/>
                </a:ln>
                <a:solidFill>
                  <a:prstClr val="black"/>
                </a:solidFill>
                <a:effectLst/>
                <a:uLnTx/>
                <a:uFillTx/>
                <a:latin typeface="Calibri" panose="020F0502020204030204" pitchFamily="34" charset="0"/>
                <a:cs typeface="Calibri" panose="020F0502020204030204" pitchFamily="34" charset="0"/>
              </a:rPr>
              <a:t>Deployment Management Entity</a:t>
            </a:r>
          </a:p>
        </p:txBody>
      </p:sp>
      <p:sp>
        <p:nvSpPr>
          <p:cNvPr id="48" name="Foliennummernplatzhalter 2">
            <a:extLst>
              <a:ext uri="{FF2B5EF4-FFF2-40B4-BE49-F238E27FC236}">
                <a16:creationId xmlns:a16="http://schemas.microsoft.com/office/drawing/2014/main" id="{0F45796B-3FDB-20D1-49DF-AC6958D58629}"/>
              </a:ext>
            </a:extLst>
          </p:cNvPr>
          <p:cNvSpPr txBox="1">
            <a:spLocks/>
          </p:cNvSpPr>
          <p:nvPr/>
        </p:nvSpPr>
        <p:spPr>
          <a:xfrm>
            <a:off x="8610600" y="6350412"/>
            <a:ext cx="2743200" cy="365125"/>
          </a:xfrm>
          <a:prstGeom prst="rect">
            <a:avLst/>
          </a:prstGeom>
        </p:spPr>
        <p:txBody>
          <a:bodyPr anchor="t"/>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ABB0DC6-0311-9D4C-8333-A8862636E7AD}" type="slidenum">
              <a:rPr lang="en-GB" sz="1000" smtClean="0">
                <a:solidFill>
                  <a:schemeClr val="tx1">
                    <a:tint val="75000"/>
                  </a:schemeClr>
                </a:solidFill>
                <a:latin typeface="+mj-lt"/>
                <a:cs typeface="Calibri" panose="020F0502020204030204" pitchFamily="34" charset="0"/>
              </a:rPr>
              <a:pPr algn="r"/>
              <a:t>10</a:t>
            </a:fld>
            <a:endParaRPr lang="en-GB" sz="1000">
              <a:solidFill>
                <a:schemeClr val="tx1">
                  <a:tint val="75000"/>
                </a:schemeClr>
              </a:solidFill>
              <a:latin typeface="+mj-lt"/>
              <a:cs typeface="Calibri" panose="020F0502020204030204" pitchFamily="34" charset="0"/>
            </a:endParaRPr>
          </a:p>
        </p:txBody>
      </p:sp>
      <p:sp>
        <p:nvSpPr>
          <p:cNvPr id="5" name="Title 1">
            <a:extLst>
              <a:ext uri="{FF2B5EF4-FFF2-40B4-BE49-F238E27FC236}">
                <a16:creationId xmlns:a16="http://schemas.microsoft.com/office/drawing/2014/main" id="{2551B5B0-DE18-CA26-1768-0CC16279F358}"/>
              </a:ext>
            </a:extLst>
          </p:cNvPr>
          <p:cNvSpPr txBox="1">
            <a:spLocks/>
          </p:cNvSpPr>
          <p:nvPr/>
        </p:nvSpPr>
        <p:spPr>
          <a:xfrm>
            <a:off x="1874099" y="269871"/>
            <a:ext cx="7339491" cy="54604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400" kern="1200">
                <a:solidFill>
                  <a:srgbClr val="0A1D3E"/>
                </a:solidFill>
                <a:latin typeface="Calibri" panose="020F0502020204030204" pitchFamily="34" charset="0"/>
                <a:ea typeface="+mj-ea"/>
                <a:cs typeface="+mj-cs"/>
              </a:defRPr>
            </a:lvl1pPr>
          </a:lstStyle>
          <a:p>
            <a:r>
              <a:rPr lang="en-GB" sz="2400" b="1">
                <a:solidFill>
                  <a:srgbClr val="132E63"/>
                </a:solidFill>
                <a:cs typeface="Calibri" panose="020F0502020204030204" pitchFamily="34" charset="0"/>
              </a:rPr>
              <a:t>The DAC General Master Plan 01 </a:t>
            </a:r>
            <a:r>
              <a:rPr lang="en-GB" sz="1200">
                <a:solidFill>
                  <a:srgbClr val="132E63"/>
                </a:solidFill>
                <a:cs typeface="Calibri" panose="020F0502020204030204" pitchFamily="34" charset="0"/>
              </a:rPr>
              <a:t>[June 2023]</a:t>
            </a:r>
          </a:p>
        </p:txBody>
      </p:sp>
      <p:sp>
        <p:nvSpPr>
          <p:cNvPr id="9" name="Rechteck 3">
            <a:extLst>
              <a:ext uri="{FF2B5EF4-FFF2-40B4-BE49-F238E27FC236}">
                <a16:creationId xmlns:a16="http://schemas.microsoft.com/office/drawing/2014/main" id="{720EF754-DBF8-1F99-C341-FDD5E6E233AE}"/>
              </a:ext>
            </a:extLst>
          </p:cNvPr>
          <p:cNvSpPr/>
          <p:nvPr/>
        </p:nvSpPr>
        <p:spPr>
          <a:xfrm>
            <a:off x="9689616" y="5377878"/>
            <a:ext cx="702314" cy="187745"/>
          </a:xfrm>
          <a:prstGeom prst="rect">
            <a:avLst/>
          </a:prstGeom>
          <a:solidFill>
            <a:schemeClr val="bg1">
              <a:lumMod val="75000"/>
              <a:alpha val="50000"/>
            </a:schemeClr>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R="0" lvl="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endParaRPr>
          </a:p>
        </p:txBody>
      </p:sp>
      <p:sp>
        <p:nvSpPr>
          <p:cNvPr id="10" name="Rechteck 3">
            <a:extLst>
              <a:ext uri="{FF2B5EF4-FFF2-40B4-BE49-F238E27FC236}">
                <a16:creationId xmlns:a16="http://schemas.microsoft.com/office/drawing/2014/main" id="{6E709051-F45E-0E5A-FDE6-3908EFA9FE35}"/>
              </a:ext>
            </a:extLst>
          </p:cNvPr>
          <p:cNvSpPr/>
          <p:nvPr/>
        </p:nvSpPr>
        <p:spPr>
          <a:xfrm>
            <a:off x="9686575" y="5605788"/>
            <a:ext cx="205811" cy="197517"/>
          </a:xfrm>
          <a:prstGeom prst="rect">
            <a:avLst/>
          </a:prstGeom>
          <a:solidFill>
            <a:schemeClr val="accent1">
              <a:lumMod val="60000"/>
              <a:lumOff val="40000"/>
              <a:alpha val="50000"/>
            </a:schemeClr>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a:solidFill>
                <a:prstClr val="white">
                  <a:lumMod val="50000"/>
                </a:prstClr>
              </a:solidFill>
              <a:latin typeface="Calibri" panose="020F0502020204030204" pitchFamily="34" charset="0"/>
              <a:cs typeface="Calibri" panose="020F0502020204030204" pitchFamily="34" charset="0"/>
            </a:endParaRPr>
          </a:p>
        </p:txBody>
      </p:sp>
      <p:sp>
        <p:nvSpPr>
          <p:cNvPr id="15" name="Rechteck 3">
            <a:extLst>
              <a:ext uri="{FF2B5EF4-FFF2-40B4-BE49-F238E27FC236}">
                <a16:creationId xmlns:a16="http://schemas.microsoft.com/office/drawing/2014/main" id="{5E3B8017-BBE3-8B8E-4EE9-6BDC2C1807E3}"/>
              </a:ext>
            </a:extLst>
          </p:cNvPr>
          <p:cNvSpPr/>
          <p:nvPr/>
        </p:nvSpPr>
        <p:spPr>
          <a:xfrm>
            <a:off x="9927176" y="5605788"/>
            <a:ext cx="224089" cy="197517"/>
          </a:xfrm>
          <a:prstGeom prst="rect">
            <a:avLst/>
          </a:prstGeom>
          <a:solidFill>
            <a:schemeClr val="accent4">
              <a:lumMod val="60000"/>
              <a:lumOff val="40000"/>
              <a:alpha val="50000"/>
            </a:schemeClr>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200" b="1">
              <a:solidFill>
                <a:prstClr val="white">
                  <a:lumMod val="50000"/>
                </a:prstClr>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629EE6A5-8785-4AFF-D3CC-2EACD8D572A9}"/>
              </a:ext>
            </a:extLst>
          </p:cNvPr>
          <p:cNvSpPr txBox="1"/>
          <p:nvPr/>
        </p:nvSpPr>
        <p:spPr>
          <a:xfrm>
            <a:off x="10371609" y="5322129"/>
            <a:ext cx="993715" cy="276999"/>
          </a:xfrm>
          <a:prstGeom prst="rect">
            <a:avLst/>
          </a:prstGeom>
          <a:noFill/>
        </p:spPr>
        <p:txBody>
          <a:bodyPr wrap="square">
            <a:spAutoFit/>
          </a:bodyPr>
          <a:lstStyle/>
          <a:p>
            <a:r>
              <a:rPr lang="en-GB" sz="1200">
                <a:solidFill>
                  <a:prstClr val="white">
                    <a:lumMod val="50000"/>
                  </a:prstClr>
                </a:solidFill>
                <a:latin typeface="Calibri" panose="020F0502020204030204" pitchFamily="34" charset="0"/>
                <a:cs typeface="Calibri" panose="020F0502020204030204" pitchFamily="34" charset="0"/>
              </a:rPr>
              <a:t>e</a:t>
            </a:r>
            <a:r>
              <a:rPr kumimoji="0" lang="en-GB" sz="1200"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xisting</a:t>
            </a:r>
            <a:endParaRPr lang="en-GB" sz="1200">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0641991F-A124-ADED-D8CC-DABB391F143A}"/>
              </a:ext>
            </a:extLst>
          </p:cNvPr>
          <p:cNvSpPr txBox="1"/>
          <p:nvPr/>
        </p:nvSpPr>
        <p:spPr>
          <a:xfrm>
            <a:off x="10466789" y="5557164"/>
            <a:ext cx="1044007" cy="276999"/>
          </a:xfrm>
          <a:prstGeom prst="rect">
            <a:avLst/>
          </a:prstGeom>
          <a:noFill/>
        </p:spPr>
        <p:txBody>
          <a:bodyPr wrap="square" lIns="0" rIns="0">
            <a:spAutoFit/>
          </a:bodyPr>
          <a:lstStyle/>
          <a:p>
            <a:r>
              <a:rPr lang="en-GB" sz="1200">
                <a:solidFill>
                  <a:prstClr val="white">
                    <a:lumMod val="50000"/>
                  </a:prstClr>
                </a:solidFill>
                <a:latin typeface="Calibri" panose="020F0502020204030204" pitchFamily="34" charset="0"/>
                <a:cs typeface="Calibri" panose="020F0502020204030204" pitchFamily="34" charset="0"/>
              </a:rPr>
              <a:t>t</a:t>
            </a:r>
            <a:r>
              <a:rPr kumimoji="0" lang="en-GB" sz="1200"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o be prepared</a:t>
            </a:r>
            <a:endParaRPr lang="en-GB" sz="1200">
              <a:latin typeface="Calibri" panose="020F0502020204030204" pitchFamily="34" charset="0"/>
              <a:cs typeface="Calibri" panose="020F0502020204030204" pitchFamily="34" charset="0"/>
            </a:endParaRPr>
          </a:p>
        </p:txBody>
      </p:sp>
      <p:grpSp>
        <p:nvGrpSpPr>
          <p:cNvPr id="30" name="Group 29">
            <a:extLst>
              <a:ext uri="{FF2B5EF4-FFF2-40B4-BE49-F238E27FC236}">
                <a16:creationId xmlns:a16="http://schemas.microsoft.com/office/drawing/2014/main" id="{AC9889EE-4B9D-2418-9B4E-D492B5038651}"/>
              </a:ext>
            </a:extLst>
          </p:cNvPr>
          <p:cNvGrpSpPr/>
          <p:nvPr/>
        </p:nvGrpSpPr>
        <p:grpSpPr>
          <a:xfrm>
            <a:off x="1274225" y="1336359"/>
            <a:ext cx="8126413" cy="3539054"/>
            <a:chOff x="1565456" y="850303"/>
            <a:chExt cx="8126413" cy="4467762"/>
          </a:xfrm>
        </p:grpSpPr>
        <p:cxnSp>
          <p:nvCxnSpPr>
            <p:cNvPr id="53" name="Gerader Verbinder 30">
              <a:extLst>
                <a:ext uri="{FF2B5EF4-FFF2-40B4-BE49-F238E27FC236}">
                  <a16:creationId xmlns:a16="http://schemas.microsoft.com/office/drawing/2014/main" id="{054D4264-2186-05A5-4231-06815BA96059}"/>
                </a:ext>
              </a:extLst>
            </p:cNvPr>
            <p:cNvCxnSpPr>
              <a:cxnSpLocks/>
            </p:cNvCxnSpPr>
            <p:nvPr/>
          </p:nvCxnSpPr>
          <p:spPr>
            <a:xfrm>
              <a:off x="1565456" y="881312"/>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54" name="Gerader Verbinder 31">
              <a:extLst>
                <a:ext uri="{FF2B5EF4-FFF2-40B4-BE49-F238E27FC236}">
                  <a16:creationId xmlns:a16="http://schemas.microsoft.com/office/drawing/2014/main" id="{BA891BFB-8E92-5742-0269-695857564D63}"/>
                </a:ext>
              </a:extLst>
            </p:cNvPr>
            <p:cNvCxnSpPr>
              <a:cxnSpLocks/>
            </p:cNvCxnSpPr>
            <p:nvPr/>
          </p:nvCxnSpPr>
          <p:spPr>
            <a:xfrm>
              <a:off x="2367937" y="881312"/>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55" name="Gerader Verbinder 34">
              <a:extLst>
                <a:ext uri="{FF2B5EF4-FFF2-40B4-BE49-F238E27FC236}">
                  <a16:creationId xmlns:a16="http://schemas.microsoft.com/office/drawing/2014/main" id="{33B5DD28-6D74-5589-2C25-FBC6DC55D85A}"/>
                </a:ext>
              </a:extLst>
            </p:cNvPr>
            <p:cNvCxnSpPr>
              <a:cxnSpLocks/>
            </p:cNvCxnSpPr>
            <p:nvPr/>
          </p:nvCxnSpPr>
          <p:spPr>
            <a:xfrm>
              <a:off x="3182325" y="881312"/>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63" name="Gerader Verbinder 36">
              <a:extLst>
                <a:ext uri="{FF2B5EF4-FFF2-40B4-BE49-F238E27FC236}">
                  <a16:creationId xmlns:a16="http://schemas.microsoft.com/office/drawing/2014/main" id="{D1E66996-AD68-B35C-11CF-4AFA240E09C6}"/>
                </a:ext>
              </a:extLst>
            </p:cNvPr>
            <p:cNvCxnSpPr>
              <a:cxnSpLocks/>
            </p:cNvCxnSpPr>
            <p:nvPr/>
          </p:nvCxnSpPr>
          <p:spPr>
            <a:xfrm>
              <a:off x="4846819" y="881312"/>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66" name="Gerader Verbinder 38">
              <a:extLst>
                <a:ext uri="{FF2B5EF4-FFF2-40B4-BE49-F238E27FC236}">
                  <a16:creationId xmlns:a16="http://schemas.microsoft.com/office/drawing/2014/main" id="{83DCCB23-ADE3-74BB-37F4-1964F6E7BED1}"/>
                </a:ext>
              </a:extLst>
            </p:cNvPr>
            <p:cNvCxnSpPr>
              <a:cxnSpLocks/>
            </p:cNvCxnSpPr>
            <p:nvPr/>
          </p:nvCxnSpPr>
          <p:spPr>
            <a:xfrm>
              <a:off x="6463688" y="850303"/>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69" name="Gerader Verbinder 39">
              <a:extLst>
                <a:ext uri="{FF2B5EF4-FFF2-40B4-BE49-F238E27FC236}">
                  <a16:creationId xmlns:a16="http://schemas.microsoft.com/office/drawing/2014/main" id="{0728FA87-F09F-29FB-5243-37B744F50D18}"/>
                </a:ext>
              </a:extLst>
            </p:cNvPr>
            <p:cNvCxnSpPr>
              <a:cxnSpLocks/>
            </p:cNvCxnSpPr>
            <p:nvPr/>
          </p:nvCxnSpPr>
          <p:spPr>
            <a:xfrm>
              <a:off x="7280457" y="850303"/>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2" name="Gerader Verbinder 40">
              <a:extLst>
                <a:ext uri="{FF2B5EF4-FFF2-40B4-BE49-F238E27FC236}">
                  <a16:creationId xmlns:a16="http://schemas.microsoft.com/office/drawing/2014/main" id="{E61FCD27-5D32-7139-F4EE-E97038F858BE}"/>
                </a:ext>
              </a:extLst>
            </p:cNvPr>
            <p:cNvCxnSpPr>
              <a:cxnSpLocks/>
            </p:cNvCxnSpPr>
            <p:nvPr/>
          </p:nvCxnSpPr>
          <p:spPr>
            <a:xfrm>
              <a:off x="8039280" y="855902"/>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3" name="Gerader Verbinder 41">
              <a:extLst>
                <a:ext uri="{FF2B5EF4-FFF2-40B4-BE49-F238E27FC236}">
                  <a16:creationId xmlns:a16="http://schemas.microsoft.com/office/drawing/2014/main" id="{BAFBADD2-DB51-C831-94CA-6B1146467398}"/>
                </a:ext>
              </a:extLst>
            </p:cNvPr>
            <p:cNvCxnSpPr>
              <a:cxnSpLocks/>
            </p:cNvCxnSpPr>
            <p:nvPr/>
          </p:nvCxnSpPr>
          <p:spPr>
            <a:xfrm>
              <a:off x="8875100" y="850303"/>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74" name="Gerader Verbinder 42">
              <a:extLst>
                <a:ext uri="{FF2B5EF4-FFF2-40B4-BE49-F238E27FC236}">
                  <a16:creationId xmlns:a16="http://schemas.microsoft.com/office/drawing/2014/main" id="{B223B738-6B4A-F2ED-71EF-D0F1C24044E2}"/>
                </a:ext>
              </a:extLst>
            </p:cNvPr>
            <p:cNvCxnSpPr>
              <a:cxnSpLocks/>
            </p:cNvCxnSpPr>
            <p:nvPr/>
          </p:nvCxnSpPr>
          <p:spPr>
            <a:xfrm>
              <a:off x="9691869" y="850303"/>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52" name="Gerader Verbinder 37">
              <a:extLst>
                <a:ext uri="{FF2B5EF4-FFF2-40B4-BE49-F238E27FC236}">
                  <a16:creationId xmlns:a16="http://schemas.microsoft.com/office/drawing/2014/main" id="{3332B5D8-B6AF-0963-2437-13EF4E0EEEFD}"/>
                </a:ext>
              </a:extLst>
            </p:cNvPr>
            <p:cNvCxnSpPr>
              <a:cxnSpLocks/>
            </p:cNvCxnSpPr>
            <p:nvPr/>
          </p:nvCxnSpPr>
          <p:spPr>
            <a:xfrm>
              <a:off x="5649300" y="850303"/>
              <a:ext cx="0" cy="4436753"/>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Gerader Verbinder 35">
              <a:extLst>
                <a:ext uri="{FF2B5EF4-FFF2-40B4-BE49-F238E27FC236}">
                  <a16:creationId xmlns:a16="http://schemas.microsoft.com/office/drawing/2014/main" id="{E16142CF-3B2F-B565-4256-1950AF91E8EF}"/>
                </a:ext>
              </a:extLst>
            </p:cNvPr>
            <p:cNvCxnSpPr>
              <a:cxnSpLocks/>
            </p:cNvCxnSpPr>
            <p:nvPr/>
          </p:nvCxnSpPr>
          <p:spPr>
            <a:xfrm>
              <a:off x="4018779" y="881312"/>
              <a:ext cx="0" cy="443675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sp>
        <p:nvSpPr>
          <p:cNvPr id="77" name="Rechteck 85">
            <a:extLst>
              <a:ext uri="{FF2B5EF4-FFF2-40B4-BE49-F238E27FC236}">
                <a16:creationId xmlns:a16="http://schemas.microsoft.com/office/drawing/2014/main" id="{B7CC596B-C3D1-0CFD-824F-4C9DEF05B41A}"/>
              </a:ext>
            </a:extLst>
          </p:cNvPr>
          <p:cNvSpPr/>
          <p:nvPr/>
        </p:nvSpPr>
        <p:spPr>
          <a:xfrm>
            <a:off x="4053934" y="2071895"/>
            <a:ext cx="1227140" cy="621545"/>
          </a:xfrm>
          <a:prstGeom prst="rect">
            <a:avLst/>
          </a:prstGeom>
          <a:solidFill>
            <a:schemeClr val="bg1">
              <a:lumMod val="95000"/>
              <a:alpha val="50000"/>
            </a:schemeClr>
          </a:solidFill>
          <a:ln w="254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endParaRPr>
          </a:p>
        </p:txBody>
      </p:sp>
      <p:sp>
        <p:nvSpPr>
          <p:cNvPr id="81" name="Ellipse 109">
            <a:extLst>
              <a:ext uri="{FF2B5EF4-FFF2-40B4-BE49-F238E27FC236}">
                <a16:creationId xmlns:a16="http://schemas.microsoft.com/office/drawing/2014/main" id="{7DDB1221-FB72-67E4-4E6F-3C4D6794BF17}"/>
              </a:ext>
            </a:extLst>
          </p:cNvPr>
          <p:cNvSpPr/>
          <p:nvPr/>
        </p:nvSpPr>
        <p:spPr>
          <a:xfrm>
            <a:off x="9649114" y="4311012"/>
            <a:ext cx="246810" cy="24681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a:ln>
                  <a:noFill/>
                </a:ln>
                <a:solidFill>
                  <a:prstClr val="white"/>
                </a:solidFill>
                <a:effectLst/>
                <a:uLnTx/>
                <a:uFillTx/>
                <a:latin typeface="Calibri" panose="020F0502020204030204" pitchFamily="34" charset="0"/>
                <a:cs typeface="Calibri" panose="020F0502020204030204" pitchFamily="34" charset="0"/>
              </a:rPr>
              <a:t>P</a:t>
            </a:r>
          </a:p>
        </p:txBody>
      </p:sp>
      <p:sp>
        <p:nvSpPr>
          <p:cNvPr id="82" name="Rechteck 50">
            <a:extLst>
              <a:ext uri="{FF2B5EF4-FFF2-40B4-BE49-F238E27FC236}">
                <a16:creationId xmlns:a16="http://schemas.microsoft.com/office/drawing/2014/main" id="{9D5FBC27-865C-C06D-EAD5-722FF0AF496E}"/>
              </a:ext>
            </a:extLst>
          </p:cNvPr>
          <p:cNvSpPr/>
          <p:nvPr/>
        </p:nvSpPr>
        <p:spPr>
          <a:xfrm>
            <a:off x="5387935" y="3583443"/>
            <a:ext cx="3898401" cy="510209"/>
          </a:xfrm>
          <a:prstGeom prst="rect">
            <a:avLst/>
          </a:prstGeom>
          <a:solidFill>
            <a:schemeClr val="accent6">
              <a:lumMod val="60000"/>
              <a:lumOff val="40000"/>
              <a:alpha val="50000"/>
            </a:schemeClr>
          </a:solidFill>
          <a:ln w="254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Deployment Management Ent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EXECUTION PHASE</a:t>
            </a:r>
          </a:p>
        </p:txBody>
      </p:sp>
      <p:sp>
        <p:nvSpPr>
          <p:cNvPr id="83" name="Textfeld 124">
            <a:extLst>
              <a:ext uri="{FF2B5EF4-FFF2-40B4-BE49-F238E27FC236}">
                <a16:creationId xmlns:a16="http://schemas.microsoft.com/office/drawing/2014/main" id="{E7464F58-2147-F560-4B06-1E070410453F}"/>
              </a:ext>
            </a:extLst>
          </p:cNvPr>
          <p:cNvSpPr txBox="1"/>
          <p:nvPr/>
        </p:nvSpPr>
        <p:spPr>
          <a:xfrm>
            <a:off x="5750413" y="3747302"/>
            <a:ext cx="3016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a:t>
            </a:r>
          </a:p>
        </p:txBody>
      </p:sp>
      <p:sp>
        <p:nvSpPr>
          <p:cNvPr id="84" name="Textfeld 130">
            <a:extLst>
              <a:ext uri="{FF2B5EF4-FFF2-40B4-BE49-F238E27FC236}">
                <a16:creationId xmlns:a16="http://schemas.microsoft.com/office/drawing/2014/main" id="{A253F7B4-5C38-1D2B-BF6C-8B755C0475D9}"/>
              </a:ext>
            </a:extLst>
          </p:cNvPr>
          <p:cNvSpPr txBox="1"/>
          <p:nvPr/>
        </p:nvSpPr>
        <p:spPr>
          <a:xfrm>
            <a:off x="9555889" y="3082574"/>
            <a:ext cx="36740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a:ln>
                  <a:noFill/>
                </a:ln>
                <a:solidFill>
                  <a:schemeClr val="accent6"/>
                </a:solidFill>
                <a:effectLst/>
                <a:uLnTx/>
                <a:uFillTx/>
                <a:latin typeface="Calibri" panose="020F0502020204030204" pitchFamily="34" charset="0"/>
                <a:cs typeface="Calibri" panose="020F0502020204030204" pitchFamily="34" charset="0"/>
              </a:rPr>
              <a:t>€</a:t>
            </a:r>
          </a:p>
        </p:txBody>
      </p:sp>
      <p:sp>
        <p:nvSpPr>
          <p:cNvPr id="87" name="Raute 63">
            <a:extLst>
              <a:ext uri="{FF2B5EF4-FFF2-40B4-BE49-F238E27FC236}">
                <a16:creationId xmlns:a16="http://schemas.microsoft.com/office/drawing/2014/main" id="{51EA7B2C-D8E8-398F-398B-4B16B3F79E20}"/>
              </a:ext>
            </a:extLst>
          </p:cNvPr>
          <p:cNvSpPr/>
          <p:nvPr/>
        </p:nvSpPr>
        <p:spPr>
          <a:xfrm>
            <a:off x="1929073" y="4924143"/>
            <a:ext cx="192881" cy="192881"/>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a:ln>
                <a:noFill/>
              </a:ln>
              <a:solidFill>
                <a:prstClr val="white"/>
              </a:solidFill>
              <a:effectLst/>
              <a:uLnTx/>
              <a:uFillTx/>
              <a:latin typeface="Calibri" panose="020F0502020204030204" pitchFamily="34" charset="0"/>
              <a:cs typeface="Calibri" panose="020F0502020204030204" pitchFamily="34" charset="0"/>
            </a:endParaRPr>
          </a:p>
        </p:txBody>
      </p:sp>
      <p:sp>
        <p:nvSpPr>
          <p:cNvPr id="89" name="Textfeld 65">
            <a:extLst>
              <a:ext uri="{FF2B5EF4-FFF2-40B4-BE49-F238E27FC236}">
                <a16:creationId xmlns:a16="http://schemas.microsoft.com/office/drawing/2014/main" id="{B66BB109-B7D4-6F84-30A7-C721734C81E2}"/>
              </a:ext>
            </a:extLst>
          </p:cNvPr>
          <p:cNvSpPr txBox="1"/>
          <p:nvPr/>
        </p:nvSpPr>
        <p:spPr>
          <a:xfrm>
            <a:off x="680968" y="4888755"/>
            <a:ext cx="126688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Sector Statement</a:t>
            </a:r>
          </a:p>
        </p:txBody>
      </p:sp>
      <p:sp>
        <p:nvSpPr>
          <p:cNvPr id="90" name="Raute 69">
            <a:extLst>
              <a:ext uri="{FF2B5EF4-FFF2-40B4-BE49-F238E27FC236}">
                <a16:creationId xmlns:a16="http://schemas.microsoft.com/office/drawing/2014/main" id="{56B032F9-B4EA-7C4B-8DCD-49FDCF054010}"/>
              </a:ext>
            </a:extLst>
          </p:cNvPr>
          <p:cNvSpPr/>
          <p:nvPr/>
        </p:nvSpPr>
        <p:spPr>
          <a:xfrm>
            <a:off x="2580795" y="4924143"/>
            <a:ext cx="192881" cy="192881"/>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a:ln>
                <a:noFill/>
              </a:ln>
              <a:solidFill>
                <a:prstClr val="white"/>
              </a:solidFill>
              <a:effectLst/>
              <a:uLnTx/>
              <a:uFillTx/>
              <a:latin typeface="Calibri" panose="020F0502020204030204" pitchFamily="34" charset="0"/>
              <a:cs typeface="Calibri" panose="020F0502020204030204" pitchFamily="34" charset="0"/>
            </a:endParaRPr>
          </a:p>
        </p:txBody>
      </p:sp>
      <p:sp>
        <p:nvSpPr>
          <p:cNvPr id="91" name="Textfeld 70">
            <a:extLst>
              <a:ext uri="{FF2B5EF4-FFF2-40B4-BE49-F238E27FC236}">
                <a16:creationId xmlns:a16="http://schemas.microsoft.com/office/drawing/2014/main" id="{9FFF9F74-2BEC-2578-E934-044AC658E173}"/>
              </a:ext>
            </a:extLst>
          </p:cNvPr>
          <p:cNvSpPr txBox="1"/>
          <p:nvPr/>
        </p:nvSpPr>
        <p:spPr>
          <a:xfrm>
            <a:off x="456911" y="5251423"/>
            <a:ext cx="234940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Funding Pilot Deployment Projects</a:t>
            </a:r>
          </a:p>
        </p:txBody>
      </p:sp>
      <p:sp>
        <p:nvSpPr>
          <p:cNvPr id="93" name="Textfeld 94">
            <a:extLst>
              <a:ext uri="{FF2B5EF4-FFF2-40B4-BE49-F238E27FC236}">
                <a16:creationId xmlns:a16="http://schemas.microsoft.com/office/drawing/2014/main" id="{E157E2D9-D5BF-D572-6F7A-AE13B95E11B6}"/>
              </a:ext>
            </a:extLst>
          </p:cNvPr>
          <p:cNvSpPr txBox="1"/>
          <p:nvPr/>
        </p:nvSpPr>
        <p:spPr>
          <a:xfrm>
            <a:off x="4872203" y="5226952"/>
            <a:ext cx="3111932" cy="1015663"/>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DAC Legal Package</a:t>
            </a: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TSIs final (technical + migration + oper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Deployment Management Entity Deployment Funding Instru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Suitable authorisation provisions</a:t>
            </a:r>
          </a:p>
        </p:txBody>
      </p:sp>
      <p:sp>
        <p:nvSpPr>
          <p:cNvPr id="97" name="Raute 112">
            <a:extLst>
              <a:ext uri="{FF2B5EF4-FFF2-40B4-BE49-F238E27FC236}">
                <a16:creationId xmlns:a16="http://schemas.microsoft.com/office/drawing/2014/main" id="{6EDEA4D4-8F66-B2CF-963B-1E088244E560}"/>
              </a:ext>
            </a:extLst>
          </p:cNvPr>
          <p:cNvSpPr/>
          <p:nvPr/>
        </p:nvSpPr>
        <p:spPr>
          <a:xfrm>
            <a:off x="3704719" y="4924143"/>
            <a:ext cx="192881" cy="192881"/>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a:ln>
                <a:noFill/>
              </a:ln>
              <a:solidFill>
                <a:prstClr val="white"/>
              </a:solidFill>
              <a:effectLst/>
              <a:uLnTx/>
              <a:uFillTx/>
              <a:latin typeface="Calibri" panose="020F0502020204030204" pitchFamily="34" charset="0"/>
              <a:cs typeface="Calibri" panose="020F0502020204030204" pitchFamily="34" charset="0"/>
            </a:endParaRPr>
          </a:p>
        </p:txBody>
      </p:sp>
      <p:sp>
        <p:nvSpPr>
          <p:cNvPr id="99" name="Textfeld 56">
            <a:extLst>
              <a:ext uri="{FF2B5EF4-FFF2-40B4-BE49-F238E27FC236}">
                <a16:creationId xmlns:a16="http://schemas.microsoft.com/office/drawing/2014/main" id="{0A1BE4E6-CD7E-F702-606A-15E07559B1D4}"/>
              </a:ext>
            </a:extLst>
          </p:cNvPr>
          <p:cNvSpPr txBox="1"/>
          <p:nvPr/>
        </p:nvSpPr>
        <p:spPr>
          <a:xfrm>
            <a:off x="3947994" y="1670595"/>
            <a:ext cx="1217769" cy="276999"/>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a:ln>
                  <a:noFill/>
                </a:ln>
                <a:solidFill>
                  <a:srgbClr val="ED7D31">
                    <a:lumMod val="60000"/>
                    <a:lumOff val="40000"/>
                  </a:srgbClr>
                </a:solidFill>
                <a:effectLst/>
                <a:uLnTx/>
                <a:uFillTx/>
                <a:latin typeface="Calibri" panose="020F0502020204030204" pitchFamily="34" charset="0"/>
                <a:cs typeface="Calibri" panose="020F0502020204030204" pitchFamily="34" charset="0"/>
              </a:rPr>
              <a:t>pre-deployment</a:t>
            </a:r>
          </a:p>
        </p:txBody>
      </p:sp>
      <p:sp>
        <p:nvSpPr>
          <p:cNvPr id="100" name="Textfeld 110">
            <a:extLst>
              <a:ext uri="{FF2B5EF4-FFF2-40B4-BE49-F238E27FC236}">
                <a16:creationId xmlns:a16="http://schemas.microsoft.com/office/drawing/2014/main" id="{52939094-6812-55E9-0132-DCC8386BA0BF}"/>
              </a:ext>
            </a:extLst>
          </p:cNvPr>
          <p:cNvSpPr txBox="1"/>
          <p:nvPr/>
        </p:nvSpPr>
        <p:spPr>
          <a:xfrm>
            <a:off x="5409079" y="1676533"/>
            <a:ext cx="1265881"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a:ln>
                  <a:noFill/>
                </a:ln>
                <a:solidFill>
                  <a:srgbClr val="ED7D31">
                    <a:lumMod val="60000"/>
                    <a:lumOff val="40000"/>
                  </a:srgbClr>
                </a:solidFill>
                <a:effectLst/>
                <a:uLnTx/>
                <a:uFillTx/>
                <a:latin typeface="Calibri" panose="020F0502020204030204" pitchFamily="34" charset="0"/>
                <a:cs typeface="Calibri" panose="020F0502020204030204" pitchFamily="34" charset="0"/>
              </a:rPr>
              <a:t>deployment</a:t>
            </a:r>
          </a:p>
        </p:txBody>
      </p:sp>
      <p:sp>
        <p:nvSpPr>
          <p:cNvPr id="104" name="Rechteck 52">
            <a:extLst>
              <a:ext uri="{FF2B5EF4-FFF2-40B4-BE49-F238E27FC236}">
                <a16:creationId xmlns:a16="http://schemas.microsoft.com/office/drawing/2014/main" id="{E6EE8908-6D2E-FAA4-22FA-28D01E6C02F2}"/>
              </a:ext>
            </a:extLst>
          </p:cNvPr>
          <p:cNvSpPr/>
          <p:nvPr/>
        </p:nvSpPr>
        <p:spPr>
          <a:xfrm>
            <a:off x="5409658" y="2067728"/>
            <a:ext cx="3876680" cy="1363606"/>
          </a:xfrm>
          <a:prstGeom prst="rect">
            <a:avLst/>
          </a:prstGeom>
          <a:solidFill>
            <a:schemeClr val="accent6">
              <a:lumMod val="60000"/>
              <a:lumOff val="40000"/>
              <a:alpha val="50000"/>
            </a:schemeClr>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br>
            <a:endPar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	deployment incl. </a:t>
            </a:r>
            <a:br>
              <a:rPr kumimoji="0" lang="en-GB" sz="16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br>
            <a:r>
              <a:rPr kumimoji="0" lang="en-GB" sz="16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	</a:t>
            </a:r>
            <a:r>
              <a:rPr lang="en-GB" sz="1600" b="1">
                <a:solidFill>
                  <a:prstClr val="white">
                    <a:lumMod val="50000"/>
                  </a:prstClr>
                </a:solidFill>
                <a:latin typeface="Calibri" panose="020F0502020204030204" pitchFamily="34" charset="0"/>
                <a:cs typeface="Calibri" panose="020F0502020204030204" pitchFamily="34" charset="0"/>
              </a:rPr>
              <a:t>p</a:t>
            </a:r>
            <a:r>
              <a:rPr kumimoji="0" lang="en-GB" sz="16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rocurement, preparation</a:t>
            </a:r>
            <a:br>
              <a:rPr kumimoji="0" lang="en-GB" sz="16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br>
            <a:r>
              <a:rPr kumimoji="0" lang="en-GB" sz="16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	&amp; ramp-up</a:t>
            </a:r>
          </a:p>
        </p:txBody>
      </p:sp>
      <p:sp>
        <p:nvSpPr>
          <p:cNvPr id="128" name="Richtungspfeil 93">
            <a:extLst>
              <a:ext uri="{FF2B5EF4-FFF2-40B4-BE49-F238E27FC236}">
                <a16:creationId xmlns:a16="http://schemas.microsoft.com/office/drawing/2014/main" id="{A36985C8-4023-92A0-5192-292BCFB797AE}"/>
              </a:ext>
            </a:extLst>
          </p:cNvPr>
          <p:cNvSpPr/>
          <p:nvPr/>
        </p:nvSpPr>
        <p:spPr>
          <a:xfrm>
            <a:off x="3253573" y="3578493"/>
            <a:ext cx="2433711" cy="512450"/>
          </a:xfrm>
          <a:prstGeom prst="homePlate">
            <a:avLst/>
          </a:prstGeom>
          <a:solidFill>
            <a:schemeClr val="accent4">
              <a:lumMod val="40000"/>
              <a:lumOff val="60000"/>
              <a:alpha val="50000"/>
            </a:schemeClr>
          </a:solidFill>
          <a:ln w="25400">
            <a:solidFill>
              <a:schemeClr val="accent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Deployment Mgmt. Entity             </a:t>
            </a:r>
            <a:b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b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 PREPARATION PHASE</a:t>
            </a:r>
          </a:p>
        </p:txBody>
      </p:sp>
      <p:cxnSp>
        <p:nvCxnSpPr>
          <p:cNvPr id="108" name="Straight Connector 107">
            <a:extLst>
              <a:ext uri="{FF2B5EF4-FFF2-40B4-BE49-F238E27FC236}">
                <a16:creationId xmlns:a16="http://schemas.microsoft.com/office/drawing/2014/main" id="{F36AC88B-C095-C846-480B-06A85305C459}"/>
              </a:ext>
            </a:extLst>
          </p:cNvPr>
          <p:cNvCxnSpPr>
            <a:cxnSpLocks/>
          </p:cNvCxnSpPr>
          <p:nvPr/>
        </p:nvCxnSpPr>
        <p:spPr>
          <a:xfrm>
            <a:off x="2674972" y="5112618"/>
            <a:ext cx="0" cy="160402"/>
          </a:xfrm>
          <a:prstGeom prst="line">
            <a:avLst/>
          </a:prstGeom>
          <a:ln>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1" name="Textfeld 123">
            <a:extLst>
              <a:ext uri="{FF2B5EF4-FFF2-40B4-BE49-F238E27FC236}">
                <a16:creationId xmlns:a16="http://schemas.microsoft.com/office/drawing/2014/main" id="{6ABFF30A-BB8D-D68B-442C-034D5413C348}"/>
              </a:ext>
            </a:extLst>
          </p:cNvPr>
          <p:cNvSpPr txBox="1"/>
          <p:nvPr/>
        </p:nvSpPr>
        <p:spPr>
          <a:xfrm>
            <a:off x="3382362" y="3753398"/>
            <a:ext cx="3016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a:t>
            </a:r>
          </a:p>
        </p:txBody>
      </p:sp>
      <p:sp>
        <p:nvSpPr>
          <p:cNvPr id="112" name="Textfeld 100">
            <a:extLst>
              <a:ext uri="{FF2B5EF4-FFF2-40B4-BE49-F238E27FC236}">
                <a16:creationId xmlns:a16="http://schemas.microsoft.com/office/drawing/2014/main" id="{A6909B39-DB6E-9A48-3258-14F9965DE1AA}"/>
              </a:ext>
            </a:extLst>
          </p:cNvPr>
          <p:cNvSpPr txBox="1"/>
          <p:nvPr/>
        </p:nvSpPr>
        <p:spPr>
          <a:xfrm>
            <a:off x="4396272" y="2220137"/>
            <a:ext cx="865456" cy="369332"/>
          </a:xfrm>
          <a:prstGeom prst="rect">
            <a:avLst/>
          </a:prstGeom>
          <a:noFill/>
        </p:spPr>
        <p:txBody>
          <a:bodyPr wrap="square" t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Final </a:t>
            </a:r>
            <a:br>
              <a:rPr kumimoji="0" lang="en-GB" sz="8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br>
            <a:r>
              <a:rPr kumimoji="0" lang="en-GB" sz="8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validation &amp; inclusion in TSIs</a:t>
            </a:r>
          </a:p>
        </p:txBody>
      </p:sp>
      <p:sp>
        <p:nvSpPr>
          <p:cNvPr id="113" name="Textfeld 65">
            <a:extLst>
              <a:ext uri="{FF2B5EF4-FFF2-40B4-BE49-F238E27FC236}">
                <a16:creationId xmlns:a16="http://schemas.microsoft.com/office/drawing/2014/main" id="{E7043860-4100-33A9-9E32-EDAA22D9AD97}"/>
              </a:ext>
            </a:extLst>
          </p:cNvPr>
          <p:cNvSpPr txBox="1"/>
          <p:nvPr/>
        </p:nvSpPr>
        <p:spPr>
          <a:xfrm>
            <a:off x="3065113" y="3016056"/>
            <a:ext cx="668255"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Ramp-up</a:t>
            </a:r>
          </a:p>
        </p:txBody>
      </p:sp>
      <p:sp>
        <p:nvSpPr>
          <p:cNvPr id="116" name="Richtungspfeil 65">
            <a:extLst>
              <a:ext uri="{FF2B5EF4-FFF2-40B4-BE49-F238E27FC236}">
                <a16:creationId xmlns:a16="http://schemas.microsoft.com/office/drawing/2014/main" id="{16C8EC11-DFDE-3A9B-6873-4A7ACAF3536E}"/>
              </a:ext>
            </a:extLst>
          </p:cNvPr>
          <p:cNvSpPr/>
          <p:nvPr/>
        </p:nvSpPr>
        <p:spPr>
          <a:xfrm>
            <a:off x="1075769" y="3580495"/>
            <a:ext cx="2427637" cy="512031"/>
          </a:xfrm>
          <a:prstGeom prst="homePlate">
            <a:avLst/>
          </a:prstGeom>
          <a:solidFill>
            <a:schemeClr val="bg1">
              <a:lumMod val="75000"/>
              <a:alpha val="50000"/>
            </a:schemeClr>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90488"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DAC Migration Plan </a:t>
            </a:r>
            <a:b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b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Development (EDDP)</a:t>
            </a:r>
          </a:p>
        </p:txBody>
      </p:sp>
      <p:sp>
        <p:nvSpPr>
          <p:cNvPr id="117" name="Textfeld 125">
            <a:extLst>
              <a:ext uri="{FF2B5EF4-FFF2-40B4-BE49-F238E27FC236}">
                <a16:creationId xmlns:a16="http://schemas.microsoft.com/office/drawing/2014/main" id="{8C178D44-ACD6-451D-228E-9DEF0EAFD90E}"/>
              </a:ext>
            </a:extLst>
          </p:cNvPr>
          <p:cNvSpPr txBox="1"/>
          <p:nvPr/>
        </p:nvSpPr>
        <p:spPr>
          <a:xfrm>
            <a:off x="1046420" y="3741206"/>
            <a:ext cx="3016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chemeClr val="accent2"/>
                </a:solidFill>
                <a:effectLst/>
                <a:uLnTx/>
                <a:uFillTx/>
                <a:latin typeface="Calibri" panose="020F0502020204030204" pitchFamily="34" charset="0"/>
                <a:cs typeface="Calibri" panose="020F0502020204030204" pitchFamily="34" charset="0"/>
              </a:rPr>
              <a:t>€</a:t>
            </a:r>
          </a:p>
        </p:txBody>
      </p:sp>
      <p:sp>
        <p:nvSpPr>
          <p:cNvPr id="118" name="Rechteck 3">
            <a:extLst>
              <a:ext uri="{FF2B5EF4-FFF2-40B4-BE49-F238E27FC236}">
                <a16:creationId xmlns:a16="http://schemas.microsoft.com/office/drawing/2014/main" id="{D5B0EAC2-143B-5AA3-720F-C98DB374D348}"/>
              </a:ext>
            </a:extLst>
          </p:cNvPr>
          <p:cNvSpPr/>
          <p:nvPr/>
        </p:nvSpPr>
        <p:spPr>
          <a:xfrm>
            <a:off x="10190808" y="5605788"/>
            <a:ext cx="205811" cy="197517"/>
          </a:xfrm>
          <a:prstGeom prst="rect">
            <a:avLst/>
          </a:prstGeom>
          <a:solidFill>
            <a:schemeClr val="tx2">
              <a:lumMod val="25000"/>
              <a:lumOff val="75000"/>
              <a:alpha val="50000"/>
            </a:schemeClr>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36000" rIns="36000" bIns="108000" rtlCol="0" anchor="ctr">
            <a:noAutofit/>
          </a:bodyPr>
          <a:lstStyle/>
          <a:p>
            <a:pPr algn="ctr">
              <a:lnSpc>
                <a:spcPts val="1200"/>
              </a:lnSpc>
            </a:pPr>
            <a:endParaRPr lang="en-GB" sz="1200" b="1">
              <a:solidFill>
                <a:prstClr val="white">
                  <a:lumMod val="50000"/>
                </a:prstClr>
              </a:solidFill>
              <a:latin typeface="Calibri" panose="020F0502020204030204" pitchFamily="34" charset="0"/>
              <a:cs typeface="Calibri" panose="020F0502020204030204" pitchFamily="34" charset="0"/>
            </a:endParaRPr>
          </a:p>
        </p:txBody>
      </p:sp>
      <p:sp>
        <p:nvSpPr>
          <p:cNvPr id="122" name="Nach oben gekrümmter Pfeil 67">
            <a:extLst>
              <a:ext uri="{FF2B5EF4-FFF2-40B4-BE49-F238E27FC236}">
                <a16:creationId xmlns:a16="http://schemas.microsoft.com/office/drawing/2014/main" id="{709F75B9-EFF7-2859-96D7-1E62A607B08D}"/>
              </a:ext>
            </a:extLst>
          </p:cNvPr>
          <p:cNvSpPr/>
          <p:nvPr/>
        </p:nvSpPr>
        <p:spPr>
          <a:xfrm>
            <a:off x="4075858" y="2819480"/>
            <a:ext cx="199012" cy="183844"/>
          </a:xfrm>
          <a:prstGeom prst="curvedUpArrow">
            <a:avLst/>
          </a:prstGeom>
          <a:solidFill>
            <a:schemeClr val="bg1">
              <a:lumMod val="75000"/>
              <a:alpha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90488"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endParaRPr>
          </a:p>
        </p:txBody>
      </p:sp>
      <p:sp>
        <p:nvSpPr>
          <p:cNvPr id="123" name="Nach oben gekrümmter Pfeil 97">
            <a:extLst>
              <a:ext uri="{FF2B5EF4-FFF2-40B4-BE49-F238E27FC236}">
                <a16:creationId xmlns:a16="http://schemas.microsoft.com/office/drawing/2014/main" id="{131F0220-705C-AE3B-5589-7CB381433646}"/>
              </a:ext>
            </a:extLst>
          </p:cNvPr>
          <p:cNvSpPr/>
          <p:nvPr/>
        </p:nvSpPr>
        <p:spPr>
          <a:xfrm rot="10618449">
            <a:off x="4058349" y="2568952"/>
            <a:ext cx="199012" cy="183844"/>
          </a:xfrm>
          <a:prstGeom prst="curvedUpArrow">
            <a:avLst/>
          </a:prstGeom>
          <a:solidFill>
            <a:schemeClr val="bg1">
              <a:lumMod val="75000"/>
              <a:alpha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90488"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endParaRPr>
          </a:p>
        </p:txBody>
      </p:sp>
      <p:sp>
        <p:nvSpPr>
          <p:cNvPr id="130" name="Textfeld 120">
            <a:extLst>
              <a:ext uri="{FF2B5EF4-FFF2-40B4-BE49-F238E27FC236}">
                <a16:creationId xmlns:a16="http://schemas.microsoft.com/office/drawing/2014/main" id="{FA71B9F3-896A-7B99-7B5E-16FD4F1CD087}"/>
              </a:ext>
            </a:extLst>
          </p:cNvPr>
          <p:cNvSpPr txBox="1"/>
          <p:nvPr/>
        </p:nvSpPr>
        <p:spPr>
          <a:xfrm>
            <a:off x="3736562" y="2812200"/>
            <a:ext cx="41870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a:t>
            </a:r>
          </a:p>
        </p:txBody>
      </p:sp>
      <p:sp>
        <p:nvSpPr>
          <p:cNvPr id="133" name="Textfeld 64">
            <a:extLst>
              <a:ext uri="{FF2B5EF4-FFF2-40B4-BE49-F238E27FC236}">
                <a16:creationId xmlns:a16="http://schemas.microsoft.com/office/drawing/2014/main" id="{3273AE58-C817-F554-5C7B-11FCD329B99B}"/>
              </a:ext>
            </a:extLst>
          </p:cNvPr>
          <p:cNvSpPr txBox="1"/>
          <p:nvPr/>
        </p:nvSpPr>
        <p:spPr>
          <a:xfrm>
            <a:off x="3189203" y="2136426"/>
            <a:ext cx="664513" cy="492443"/>
          </a:xfrm>
          <a:prstGeom prst="rect">
            <a:avLst/>
          </a:prstGeom>
          <a:noFill/>
        </p:spPr>
        <p:txBody>
          <a:bodyPr wrap="square" t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a:solidFill>
                  <a:srgbClr val="C00000"/>
                </a:solidFill>
                <a:latin typeface="Calibri" panose="020F0502020204030204" pitchFamily="34" charset="0"/>
                <a:cs typeface="Calibri" panose="020F0502020204030204" pitchFamily="34" charset="0"/>
              </a:rPr>
              <a:t>c</a:t>
            </a:r>
            <a:r>
              <a:rPr kumimoji="0" lang="en-GB" sz="8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omplete draft </a:t>
            </a:r>
            <a:br>
              <a:rPr kumimoji="0" lang="en-GB" sz="8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br>
            <a:r>
              <a:rPr kumimoji="0" lang="en-GB" sz="8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tech. </a:t>
            </a:r>
            <a:br>
              <a:rPr kumimoji="0" lang="en-GB" sz="8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br>
            <a:r>
              <a:rPr kumimoji="0" lang="en-GB" sz="8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specs</a:t>
            </a:r>
          </a:p>
        </p:txBody>
      </p:sp>
      <p:sp>
        <p:nvSpPr>
          <p:cNvPr id="135" name="Textfeld 126">
            <a:extLst>
              <a:ext uri="{FF2B5EF4-FFF2-40B4-BE49-F238E27FC236}">
                <a16:creationId xmlns:a16="http://schemas.microsoft.com/office/drawing/2014/main" id="{C966DEA3-2903-D352-3158-5435F5E97F1E}"/>
              </a:ext>
            </a:extLst>
          </p:cNvPr>
          <p:cNvSpPr txBox="1"/>
          <p:nvPr/>
        </p:nvSpPr>
        <p:spPr>
          <a:xfrm>
            <a:off x="1048155" y="2294121"/>
            <a:ext cx="3016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chemeClr val="accent6"/>
                </a:solidFill>
                <a:effectLst/>
                <a:uLnTx/>
                <a:uFillTx/>
                <a:latin typeface="Calibri" panose="020F0502020204030204" pitchFamily="34" charset="0"/>
                <a:cs typeface="Calibri" panose="020F0502020204030204" pitchFamily="34" charset="0"/>
              </a:rPr>
              <a:t>€</a:t>
            </a:r>
          </a:p>
        </p:txBody>
      </p:sp>
      <p:graphicFrame>
        <p:nvGraphicFramePr>
          <p:cNvPr id="2" name="Tabelle 26">
            <a:extLst>
              <a:ext uri="{FF2B5EF4-FFF2-40B4-BE49-F238E27FC236}">
                <a16:creationId xmlns:a16="http://schemas.microsoft.com/office/drawing/2014/main" id="{36083C72-60F1-AD7E-B806-7FEB2E0099F2}"/>
              </a:ext>
            </a:extLst>
          </p:cNvPr>
          <p:cNvGraphicFramePr>
            <a:graphicFrameLocks noGrp="1"/>
          </p:cNvGraphicFramePr>
          <p:nvPr/>
        </p:nvGraphicFramePr>
        <p:xfrm>
          <a:off x="1284542" y="1317309"/>
          <a:ext cx="8128000" cy="457200"/>
        </p:xfrm>
        <a:graphic>
          <a:graphicData uri="http://schemas.openxmlformats.org/drawingml/2006/table">
            <a:tbl>
              <a:tblPr firstRow="1" bandRow="1">
                <a:tableStyleId>{5C22544A-7EE6-4342-B048-85BDC9FD1C3A}</a:tableStyleId>
              </a:tblPr>
              <a:tblGrid>
                <a:gridCol w="812800">
                  <a:extLst>
                    <a:ext uri="{9D8B030D-6E8A-4147-A177-3AD203B41FA5}">
                      <a16:colId xmlns:a16="http://schemas.microsoft.com/office/drawing/2014/main" val="2181104921"/>
                    </a:ext>
                  </a:extLst>
                </a:gridCol>
                <a:gridCol w="812800">
                  <a:extLst>
                    <a:ext uri="{9D8B030D-6E8A-4147-A177-3AD203B41FA5}">
                      <a16:colId xmlns:a16="http://schemas.microsoft.com/office/drawing/2014/main" val="2255690857"/>
                    </a:ext>
                  </a:extLst>
                </a:gridCol>
                <a:gridCol w="812800">
                  <a:extLst>
                    <a:ext uri="{9D8B030D-6E8A-4147-A177-3AD203B41FA5}">
                      <a16:colId xmlns:a16="http://schemas.microsoft.com/office/drawing/2014/main" val="428522994"/>
                    </a:ext>
                  </a:extLst>
                </a:gridCol>
                <a:gridCol w="812800">
                  <a:extLst>
                    <a:ext uri="{9D8B030D-6E8A-4147-A177-3AD203B41FA5}">
                      <a16:colId xmlns:a16="http://schemas.microsoft.com/office/drawing/2014/main" val="4044369667"/>
                    </a:ext>
                  </a:extLst>
                </a:gridCol>
                <a:gridCol w="812800">
                  <a:extLst>
                    <a:ext uri="{9D8B030D-6E8A-4147-A177-3AD203B41FA5}">
                      <a16:colId xmlns:a16="http://schemas.microsoft.com/office/drawing/2014/main" val="147732857"/>
                    </a:ext>
                  </a:extLst>
                </a:gridCol>
                <a:gridCol w="812800">
                  <a:extLst>
                    <a:ext uri="{9D8B030D-6E8A-4147-A177-3AD203B41FA5}">
                      <a16:colId xmlns:a16="http://schemas.microsoft.com/office/drawing/2014/main" val="2777632651"/>
                    </a:ext>
                  </a:extLst>
                </a:gridCol>
                <a:gridCol w="812800">
                  <a:extLst>
                    <a:ext uri="{9D8B030D-6E8A-4147-A177-3AD203B41FA5}">
                      <a16:colId xmlns:a16="http://schemas.microsoft.com/office/drawing/2014/main" val="935811033"/>
                    </a:ext>
                  </a:extLst>
                </a:gridCol>
                <a:gridCol w="812800">
                  <a:extLst>
                    <a:ext uri="{9D8B030D-6E8A-4147-A177-3AD203B41FA5}">
                      <a16:colId xmlns:a16="http://schemas.microsoft.com/office/drawing/2014/main" val="3975493630"/>
                    </a:ext>
                  </a:extLst>
                </a:gridCol>
                <a:gridCol w="812800">
                  <a:extLst>
                    <a:ext uri="{9D8B030D-6E8A-4147-A177-3AD203B41FA5}">
                      <a16:colId xmlns:a16="http://schemas.microsoft.com/office/drawing/2014/main" val="1888536727"/>
                    </a:ext>
                  </a:extLst>
                </a:gridCol>
                <a:gridCol w="812800">
                  <a:extLst>
                    <a:ext uri="{9D8B030D-6E8A-4147-A177-3AD203B41FA5}">
                      <a16:colId xmlns:a16="http://schemas.microsoft.com/office/drawing/2014/main" val="221736346"/>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200" b="0">
                          <a:solidFill>
                            <a:srgbClr val="0070C0"/>
                          </a:solidFill>
                        </a:rPr>
                        <a:t>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200" b="0">
                          <a:solidFill>
                            <a:srgbClr val="0070C0"/>
                          </a:solidFill>
                        </a:rPr>
                        <a:t>2024</a:t>
                      </a:r>
                    </a:p>
                  </a:txBody>
                  <a:tcPr>
                    <a:lnL w="12700" cap="flat" cmpd="sng" algn="ctr">
                      <a:noFill/>
                      <a:prstDash val="solid"/>
                      <a:round/>
                      <a:headEnd type="none" w="med" len="med"/>
                      <a:tailEnd type="none" w="med" len="med"/>
                    </a:lnL>
                    <a:lnR w="12700" cmpd="sng">
                      <a:noFill/>
                    </a:lnR>
                    <a:noFill/>
                  </a:tcPr>
                </a:tc>
                <a:tc>
                  <a:txBody>
                    <a:bodyPr/>
                    <a:lstStyle/>
                    <a:p>
                      <a:pPr algn="ctr"/>
                      <a:r>
                        <a:rPr lang="de-AT" sz="1200" b="0">
                          <a:solidFill>
                            <a:srgbClr val="0070C0"/>
                          </a:solidFill>
                        </a:rPr>
                        <a:t>20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e-AT" sz="1200" b="0">
                          <a:solidFill>
                            <a:srgbClr val="0070C0"/>
                          </a:solidFill>
                        </a:rPr>
                        <a:t>202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e-AT" sz="1200" b="0">
                          <a:solidFill>
                            <a:srgbClr val="0070C0"/>
                          </a:solidFill>
                        </a:rPr>
                        <a:t>202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e-AT" sz="1200" b="0">
                          <a:solidFill>
                            <a:srgbClr val="0070C0"/>
                          </a:solidFill>
                        </a:rPr>
                        <a:t>202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e-AT" sz="1200" b="0">
                          <a:solidFill>
                            <a:srgbClr val="0070C0"/>
                          </a:solidFill>
                        </a:rPr>
                        <a:t>2029</a:t>
                      </a:r>
                    </a:p>
                  </a:txBody>
                  <a:tcPr>
                    <a:lnL w="12700" cmpd="sng">
                      <a:noFill/>
                    </a:lnL>
                    <a:noFill/>
                  </a:tcPr>
                </a:tc>
                <a:tc>
                  <a:txBody>
                    <a:bodyPr/>
                    <a:lstStyle/>
                    <a:p>
                      <a:pPr algn="ctr"/>
                      <a:r>
                        <a:rPr lang="de-AT" sz="1200" b="0">
                          <a:solidFill>
                            <a:srgbClr val="0070C0"/>
                          </a:solidFill>
                        </a:rPr>
                        <a:t>2030</a:t>
                      </a:r>
                    </a:p>
                  </a:txBody>
                  <a:tcPr>
                    <a:noFill/>
                  </a:tcPr>
                </a:tc>
                <a:tc>
                  <a:txBody>
                    <a:bodyPr/>
                    <a:lstStyle/>
                    <a:p>
                      <a:pPr algn="ctr"/>
                      <a:r>
                        <a:rPr lang="de-AT" sz="1200" b="0">
                          <a:solidFill>
                            <a:srgbClr val="0070C0"/>
                          </a:solidFill>
                        </a:rPr>
                        <a:t>2031</a:t>
                      </a:r>
                    </a:p>
                  </a:txBody>
                  <a:tcPr>
                    <a:noFill/>
                  </a:tcPr>
                </a:tc>
                <a:tc>
                  <a:txBody>
                    <a:bodyPr/>
                    <a:lstStyle/>
                    <a:p>
                      <a:pPr algn="ctr"/>
                      <a:r>
                        <a:rPr lang="de-AT" sz="1200" b="0">
                          <a:solidFill>
                            <a:srgbClr val="0070C0"/>
                          </a:solidFill>
                        </a:rPr>
                        <a:t>2032/33?</a:t>
                      </a:r>
                    </a:p>
                  </a:txBody>
                  <a:tcPr>
                    <a:noFill/>
                  </a:tcPr>
                </a:tc>
                <a:extLst>
                  <a:ext uri="{0D108BD9-81ED-4DB2-BD59-A6C34878D82A}">
                    <a16:rowId xmlns:a16="http://schemas.microsoft.com/office/drawing/2014/main" val="3686643688"/>
                  </a:ext>
                </a:extLst>
              </a:tr>
            </a:tbl>
          </a:graphicData>
        </a:graphic>
      </p:graphicFrame>
      <p:sp>
        <p:nvSpPr>
          <p:cNvPr id="85" name="Raute 57">
            <a:extLst>
              <a:ext uri="{FF2B5EF4-FFF2-40B4-BE49-F238E27FC236}">
                <a16:creationId xmlns:a16="http://schemas.microsoft.com/office/drawing/2014/main" id="{5A8A4046-D563-9247-DE8B-50E2F4B09296}"/>
              </a:ext>
            </a:extLst>
          </p:cNvPr>
          <p:cNvSpPr/>
          <p:nvPr/>
        </p:nvSpPr>
        <p:spPr>
          <a:xfrm>
            <a:off x="3685208" y="2663443"/>
            <a:ext cx="192881" cy="192881"/>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prstClr val="white"/>
              </a:solidFill>
              <a:effectLst/>
              <a:uLnTx/>
              <a:uFillTx/>
              <a:latin typeface="Calibri" panose="020F0502020204030204" pitchFamily="34" charset="0"/>
              <a:cs typeface="Calibri" panose="020F0502020204030204" pitchFamily="34" charset="0"/>
            </a:endParaRPr>
          </a:p>
        </p:txBody>
      </p:sp>
      <p:sp>
        <p:nvSpPr>
          <p:cNvPr id="129" name="Raute 101">
            <a:extLst>
              <a:ext uri="{FF2B5EF4-FFF2-40B4-BE49-F238E27FC236}">
                <a16:creationId xmlns:a16="http://schemas.microsoft.com/office/drawing/2014/main" id="{1C97CEF6-ABA0-E2B4-C24F-905A8BD44D2F}"/>
              </a:ext>
            </a:extLst>
          </p:cNvPr>
          <p:cNvSpPr/>
          <p:nvPr/>
        </p:nvSpPr>
        <p:spPr>
          <a:xfrm>
            <a:off x="5028415" y="2652842"/>
            <a:ext cx="192881" cy="192881"/>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prstClr val="white"/>
              </a:solidFill>
              <a:effectLst/>
              <a:uLnTx/>
              <a:uFillTx/>
              <a:latin typeface="Calibri" panose="020F0502020204030204" pitchFamily="34" charset="0"/>
              <a:cs typeface="Calibri" panose="020F0502020204030204" pitchFamily="34" charset="0"/>
            </a:endParaRPr>
          </a:p>
        </p:txBody>
      </p:sp>
      <p:sp>
        <p:nvSpPr>
          <p:cNvPr id="7" name="Right Triangle 6">
            <a:extLst>
              <a:ext uri="{FF2B5EF4-FFF2-40B4-BE49-F238E27FC236}">
                <a16:creationId xmlns:a16="http://schemas.microsoft.com/office/drawing/2014/main" id="{BCAD2764-B2E8-9572-FADC-D48E36B8208C}"/>
              </a:ext>
            </a:extLst>
          </p:cNvPr>
          <p:cNvSpPr/>
          <p:nvPr/>
        </p:nvSpPr>
        <p:spPr>
          <a:xfrm rot="10800000">
            <a:off x="3373483" y="2777069"/>
            <a:ext cx="288982" cy="217377"/>
          </a:xfrm>
          <a:prstGeom prst="rtTriangle">
            <a:avLst/>
          </a:prstGeom>
          <a:solidFill>
            <a:schemeClr val="accent4">
              <a:lumMod val="40000"/>
              <a:lumOff val="60000"/>
              <a:alpha val="50000"/>
            </a:schemeClr>
          </a:solidFill>
          <a:ln w="254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36000" rIns="36000" bIns="108000" rtlCol="0" anchor="ctr">
            <a:noAutofit/>
          </a:bodyPr>
          <a:lstStyle/>
          <a:p>
            <a:pPr algn="ctr">
              <a:lnSpc>
                <a:spcPts val="1200"/>
              </a:lnSpc>
            </a:pPr>
            <a:endParaRPr lang="en-GB" sz="1200" b="1">
              <a:solidFill>
                <a:prstClr val="white">
                  <a:lumMod val="50000"/>
                </a:prstClr>
              </a:solidFill>
              <a:latin typeface="Calibri" panose="020F0502020204030204" pitchFamily="34" charset="0"/>
              <a:cs typeface="Calibri" panose="020F0502020204030204" pitchFamily="34" charset="0"/>
            </a:endParaRPr>
          </a:p>
        </p:txBody>
      </p:sp>
      <p:sp>
        <p:nvSpPr>
          <p:cNvPr id="8" name="Textfeld 111">
            <a:extLst>
              <a:ext uri="{FF2B5EF4-FFF2-40B4-BE49-F238E27FC236}">
                <a16:creationId xmlns:a16="http://schemas.microsoft.com/office/drawing/2014/main" id="{EFCDD882-6912-68D5-A4EB-919FCBE17876}"/>
              </a:ext>
            </a:extLst>
          </p:cNvPr>
          <p:cNvSpPr txBox="1"/>
          <p:nvPr/>
        </p:nvSpPr>
        <p:spPr>
          <a:xfrm>
            <a:off x="2683001" y="5222593"/>
            <a:ext cx="1365566" cy="120032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Specific </a:t>
            </a:r>
            <a:r>
              <a:rPr lang="en-GB" sz="1200">
                <a:solidFill>
                  <a:srgbClr val="C00000"/>
                </a:solidFill>
                <a:latin typeface="Calibri" panose="020F0502020204030204" pitchFamily="34" charset="0"/>
                <a:cs typeface="Calibri" panose="020F0502020204030204" pitchFamily="34" charset="0"/>
              </a:rPr>
              <a:t>access</a:t>
            </a:r>
            <a:br>
              <a:rPr lang="en-GB" sz="1200">
                <a:solidFill>
                  <a:srgbClr val="C00000"/>
                </a:solidFill>
                <a:latin typeface="Calibri" panose="020F0502020204030204" pitchFamily="34" charset="0"/>
                <a:cs typeface="Calibri" panose="020F0502020204030204" pitchFamily="34" charset="0"/>
              </a:rPr>
            </a:br>
            <a:r>
              <a:rPr lang="en-GB" sz="1200">
                <a:solidFill>
                  <a:srgbClr val="C00000"/>
                </a:solidFill>
                <a:latin typeface="Calibri" panose="020F0502020204030204" pitchFamily="34" charset="0"/>
                <a:cs typeface="Calibri" panose="020F0502020204030204" pitchFamily="34" charset="0"/>
              </a:rPr>
              <a:t>to the network for</a:t>
            </a:r>
            <a:br>
              <a:rPr lang="en-GB" sz="1200">
                <a:solidFill>
                  <a:srgbClr val="C00000"/>
                </a:solidFill>
                <a:latin typeface="Calibri" panose="020F0502020204030204" pitchFamily="34" charset="0"/>
                <a:cs typeface="Calibri" panose="020F0502020204030204" pitchFamily="34" charset="0"/>
              </a:rPr>
            </a:br>
            <a:r>
              <a:rPr lang="en-GB" sz="1200">
                <a:solidFill>
                  <a:srgbClr val="C00000"/>
                </a:solidFill>
                <a:latin typeface="Calibri" panose="020F0502020204030204" pitchFamily="34" charset="0"/>
                <a:cs typeface="Calibri" panose="020F0502020204030204" pitchFamily="34" charset="0"/>
              </a:rPr>
              <a:t>commercial pilot</a:t>
            </a:r>
            <a:br>
              <a:rPr lang="en-GB" sz="1200">
                <a:solidFill>
                  <a:srgbClr val="C00000"/>
                </a:solidFill>
                <a:latin typeface="Calibri" panose="020F0502020204030204" pitchFamily="34" charset="0"/>
                <a:cs typeface="Calibri" panose="020F0502020204030204" pitchFamily="34" charset="0"/>
              </a:rPr>
            </a:br>
            <a:r>
              <a:rPr lang="en-GB" sz="1200">
                <a:solidFill>
                  <a:srgbClr val="C00000"/>
                </a:solidFill>
                <a:latin typeface="Calibri" panose="020F0502020204030204" pitchFamily="34" charset="0"/>
                <a:cs typeface="Calibri" panose="020F0502020204030204" pitchFamily="34" charset="0"/>
              </a:rPr>
              <a:t>test operations</a:t>
            </a:r>
            <a:b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b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based on </a:t>
            </a:r>
            <a:r>
              <a:rPr lang="en-GB" sz="1200">
                <a:solidFill>
                  <a:srgbClr val="C00000"/>
                </a:solidFill>
                <a:latin typeface="Calibri" panose="020F0502020204030204" pitchFamily="34" charset="0"/>
                <a:cs typeface="Calibri" panose="020F0502020204030204" pitchFamily="34" charset="0"/>
              </a:rPr>
              <a:t>dr</a:t>
            </a: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aft</a:t>
            </a:r>
            <a:b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b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technical specs)</a:t>
            </a:r>
          </a:p>
        </p:txBody>
      </p:sp>
      <p:sp>
        <p:nvSpPr>
          <p:cNvPr id="20" name="Textfeld 131">
            <a:extLst>
              <a:ext uri="{FF2B5EF4-FFF2-40B4-BE49-F238E27FC236}">
                <a16:creationId xmlns:a16="http://schemas.microsoft.com/office/drawing/2014/main" id="{AF8B3D41-F8FD-DFB4-B4C3-60ADE34F67A6}"/>
              </a:ext>
            </a:extLst>
          </p:cNvPr>
          <p:cNvSpPr txBox="1"/>
          <p:nvPr/>
        </p:nvSpPr>
        <p:spPr>
          <a:xfrm>
            <a:off x="9843894" y="3589140"/>
            <a:ext cx="194536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Budget and resource need</a:t>
            </a:r>
            <a:b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br>
            <a:r>
              <a:rPr kumimoji="0" lang="en-GB" sz="1200" b="0"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currently mainly unfunded)</a:t>
            </a:r>
          </a:p>
        </p:txBody>
      </p:sp>
      <p:sp>
        <p:nvSpPr>
          <p:cNvPr id="23" name="Textfeld 130">
            <a:extLst>
              <a:ext uri="{FF2B5EF4-FFF2-40B4-BE49-F238E27FC236}">
                <a16:creationId xmlns:a16="http://schemas.microsoft.com/office/drawing/2014/main" id="{68623705-9E32-1C86-77DF-FB6919257286}"/>
              </a:ext>
            </a:extLst>
          </p:cNvPr>
          <p:cNvSpPr txBox="1"/>
          <p:nvPr/>
        </p:nvSpPr>
        <p:spPr>
          <a:xfrm>
            <a:off x="9555889" y="3553628"/>
            <a:ext cx="36740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a:t>
            </a:r>
          </a:p>
        </p:txBody>
      </p:sp>
      <p:sp>
        <p:nvSpPr>
          <p:cNvPr id="32" name="Rechteck 58">
            <a:extLst>
              <a:ext uri="{FF2B5EF4-FFF2-40B4-BE49-F238E27FC236}">
                <a16:creationId xmlns:a16="http://schemas.microsoft.com/office/drawing/2014/main" id="{2A0D2A09-23E4-5218-1403-7C76B69076EB}"/>
              </a:ext>
            </a:extLst>
          </p:cNvPr>
          <p:cNvSpPr/>
          <p:nvPr/>
        </p:nvSpPr>
        <p:spPr>
          <a:xfrm>
            <a:off x="1525788" y="4263075"/>
            <a:ext cx="3775968" cy="510209"/>
          </a:xfrm>
          <a:prstGeom prst="rect">
            <a:avLst/>
          </a:prstGeom>
          <a:solidFill>
            <a:schemeClr val="tx2">
              <a:lumMod val="25000"/>
              <a:lumOff val="75000"/>
              <a:alpha val="50000"/>
            </a:schemeClr>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DAC framework conditions development</a:t>
            </a:r>
          </a:p>
          <a:p>
            <a:pPr marL="355600" marR="0" lvl="0"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underway: 	  CBA, suitable authorisation provisions, …</a:t>
            </a:r>
          </a:p>
          <a:p>
            <a:pPr marL="355600" marR="0" lvl="0"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rPr>
              <a:t>to be started:  EU/MS policies, legal, funding, procurement, …</a:t>
            </a:r>
          </a:p>
        </p:txBody>
      </p:sp>
      <p:sp>
        <p:nvSpPr>
          <p:cNvPr id="95" name="Ellipse 108">
            <a:extLst>
              <a:ext uri="{FF2B5EF4-FFF2-40B4-BE49-F238E27FC236}">
                <a16:creationId xmlns:a16="http://schemas.microsoft.com/office/drawing/2014/main" id="{8D882A25-A893-7F5C-F5C5-380428FAF82E}"/>
              </a:ext>
            </a:extLst>
          </p:cNvPr>
          <p:cNvSpPr/>
          <p:nvPr/>
        </p:nvSpPr>
        <p:spPr>
          <a:xfrm>
            <a:off x="4958847" y="4311012"/>
            <a:ext cx="246810" cy="24681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a:ln>
                  <a:noFill/>
                </a:ln>
                <a:solidFill>
                  <a:prstClr val="white"/>
                </a:solidFill>
                <a:effectLst/>
                <a:uLnTx/>
                <a:uFillTx/>
                <a:latin typeface="Calibri" panose="020F0502020204030204" pitchFamily="34" charset="0"/>
                <a:cs typeface="Calibri" panose="020F0502020204030204" pitchFamily="34" charset="0"/>
              </a:rPr>
              <a:t>P</a:t>
            </a:r>
          </a:p>
        </p:txBody>
      </p:sp>
      <p:sp>
        <p:nvSpPr>
          <p:cNvPr id="105" name="Textfeld 124">
            <a:extLst>
              <a:ext uri="{FF2B5EF4-FFF2-40B4-BE49-F238E27FC236}">
                <a16:creationId xmlns:a16="http://schemas.microsoft.com/office/drawing/2014/main" id="{993EBEA3-666D-4784-EDC6-A6A9F2D3B839}"/>
              </a:ext>
            </a:extLst>
          </p:cNvPr>
          <p:cNvSpPr txBox="1"/>
          <p:nvPr/>
        </p:nvSpPr>
        <p:spPr>
          <a:xfrm>
            <a:off x="1544653" y="4231420"/>
            <a:ext cx="30168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a:t>
            </a:r>
          </a:p>
        </p:txBody>
      </p:sp>
      <p:sp>
        <p:nvSpPr>
          <p:cNvPr id="12" name="Rechteck 52">
            <a:extLst>
              <a:ext uri="{FF2B5EF4-FFF2-40B4-BE49-F238E27FC236}">
                <a16:creationId xmlns:a16="http://schemas.microsoft.com/office/drawing/2014/main" id="{8622FBAE-9A58-9B5B-8DB3-F6D1B6AA116F}"/>
              </a:ext>
            </a:extLst>
          </p:cNvPr>
          <p:cNvSpPr/>
          <p:nvPr/>
        </p:nvSpPr>
        <p:spPr>
          <a:xfrm>
            <a:off x="5425454" y="2091166"/>
            <a:ext cx="1179641" cy="1317101"/>
          </a:xfrm>
          <a:prstGeom prst="rect">
            <a:avLst/>
          </a:prstGeom>
          <a:gradFill flip="none" rotWithShape="1">
            <a:gsLst>
              <a:gs pos="24000">
                <a:srgbClr val="E6F2C9"/>
              </a:gs>
              <a:gs pos="100000">
                <a:schemeClr val="accent6">
                  <a:alpha val="49000"/>
                  <a:lumMod val="42000"/>
                  <a:lumOff val="58000"/>
                </a:schemeClr>
              </a:gs>
            </a:gsLst>
            <a:lin ang="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a:ln>
                <a:noFill/>
              </a:ln>
              <a:solidFill>
                <a:prstClr val="white">
                  <a:lumMod val="50000"/>
                </a:prstClr>
              </a:solidFill>
              <a:effectLst/>
              <a:uLnTx/>
              <a:uFillTx/>
              <a:latin typeface="Calibri" panose="020F0502020204030204" pitchFamily="34" charset="0"/>
              <a:cs typeface="Calibri" panose="020F0502020204030204" pitchFamily="34" charset="0"/>
            </a:endParaRPr>
          </a:p>
        </p:txBody>
      </p:sp>
      <p:sp>
        <p:nvSpPr>
          <p:cNvPr id="106" name="Textfeld 121">
            <a:extLst>
              <a:ext uri="{FF2B5EF4-FFF2-40B4-BE49-F238E27FC236}">
                <a16:creationId xmlns:a16="http://schemas.microsoft.com/office/drawing/2014/main" id="{95DB4D5B-4721-06E2-70BE-5C81D94B254A}"/>
              </a:ext>
            </a:extLst>
          </p:cNvPr>
          <p:cNvSpPr txBox="1"/>
          <p:nvPr/>
        </p:nvSpPr>
        <p:spPr>
          <a:xfrm>
            <a:off x="5494064" y="2119801"/>
            <a:ext cx="76976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rgbClr val="C00000"/>
                </a:solidFill>
                <a:effectLst/>
                <a:uLnTx/>
                <a:uFillTx/>
                <a:latin typeface="Calibri" panose="020F0502020204030204" pitchFamily="34" charset="0"/>
                <a:cs typeface="Calibri" panose="020F0502020204030204" pitchFamily="34" charset="0"/>
              </a:rPr>
              <a:t>€€€€€</a:t>
            </a:r>
          </a:p>
        </p:txBody>
      </p:sp>
      <p:pic>
        <p:nvPicPr>
          <p:cNvPr id="3" name="Picture 2" descr="A black letter on a white background&#10;&#10;Description automatically generated">
            <a:extLst>
              <a:ext uri="{FF2B5EF4-FFF2-40B4-BE49-F238E27FC236}">
                <a16:creationId xmlns:a16="http://schemas.microsoft.com/office/drawing/2014/main" id="{019E2A47-3F1A-A5E4-D457-BE1483FF258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96109" y="868841"/>
            <a:ext cx="1021827" cy="155166"/>
          </a:xfrm>
          <a:prstGeom prst="rect">
            <a:avLst/>
          </a:prstGeom>
        </p:spPr>
      </p:pic>
      <p:sp>
        <p:nvSpPr>
          <p:cNvPr id="13" name="Oval 12">
            <a:extLst>
              <a:ext uri="{FF2B5EF4-FFF2-40B4-BE49-F238E27FC236}">
                <a16:creationId xmlns:a16="http://schemas.microsoft.com/office/drawing/2014/main" id="{574AF404-42F3-139E-3529-ADC0AA592A0C}"/>
              </a:ext>
            </a:extLst>
          </p:cNvPr>
          <p:cNvSpPr/>
          <p:nvPr/>
        </p:nvSpPr>
        <p:spPr>
          <a:xfrm>
            <a:off x="3887056" y="2342235"/>
            <a:ext cx="1566526" cy="1454972"/>
          </a:xfrm>
          <a:prstGeom prst="ellipse">
            <a:avLst/>
          </a:prstGeom>
          <a:noFill/>
          <a:ln w="76200">
            <a:solidFill>
              <a:srgbClr val="C0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867180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6C1E1-BB22-A05C-3BCE-03609A2C7627}"/>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6611939-02FF-CD8F-AFF7-EBEB0556D38A}"/>
              </a:ext>
            </a:extLst>
          </p:cNvPr>
          <p:cNvSpPr>
            <a:spLocks noGrp="1"/>
          </p:cNvSpPr>
          <p:nvPr>
            <p:ph type="sldNum" sz="quarter" idx="4"/>
          </p:nvPr>
        </p:nvSpPr>
        <p:spPr>
          <a:xfrm>
            <a:off x="10932718" y="6453337"/>
            <a:ext cx="587282" cy="239633"/>
          </a:xfrm>
          <a:prstGeom prst="rect">
            <a:avLst/>
          </a:prstGeom>
        </p:spPr>
        <p:txBody>
          <a:bodyPr vert="horz" lIns="0" tIns="0" rIns="0" bIns="0" rtlCol="0" anchor="t" anchorCtr="0"/>
          <a:lstStyle>
            <a:defPPr>
              <a:defRPr lang="fr-FR"/>
            </a:defPPr>
            <a:lvl1pPr marL="0" algn="r" defTabSz="914400" rtl="0" eaLnBrk="1" latinLnBrk="0" hangingPunct="1">
              <a:defRPr lang="de-DE" sz="799" kern="1200" smtClean="0">
                <a:solidFill>
                  <a:schemeClr val="bg1"/>
                </a:solidFill>
                <a:latin typeface="Arial" charset="0"/>
                <a:ea typeface="ヒラギノ角ゴ Pro W3" charset="0"/>
                <a:cs typeface="ヒラギノ角ゴ Pro W3"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D91C70-5C3D-E148-A360-4F6F11B94339}" type="slidenum">
              <a:rPr lang="de-AT" smtClean="0"/>
              <a:pPr/>
              <a:t>11</a:t>
            </a:fld>
            <a:endParaRPr lang="en-GB">
              <a:latin typeface="Open Sans" pitchFamily="2" charset="0"/>
              <a:ea typeface="Open Sans" pitchFamily="2" charset="0"/>
              <a:cs typeface="Open Sans" pitchFamily="2" charset="0"/>
            </a:endParaRPr>
          </a:p>
        </p:txBody>
      </p:sp>
      <p:sp>
        <p:nvSpPr>
          <p:cNvPr id="5" name="Title 1">
            <a:extLst>
              <a:ext uri="{FF2B5EF4-FFF2-40B4-BE49-F238E27FC236}">
                <a16:creationId xmlns:a16="http://schemas.microsoft.com/office/drawing/2014/main" id="{39FD7B7E-DA83-D3C9-20A8-7DABC88133E7}"/>
              </a:ext>
            </a:extLst>
          </p:cNvPr>
          <p:cNvSpPr txBox="1">
            <a:spLocks/>
          </p:cNvSpPr>
          <p:nvPr/>
        </p:nvSpPr>
        <p:spPr>
          <a:xfrm>
            <a:off x="1900378" y="428066"/>
            <a:ext cx="7607723" cy="54604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400" kern="1200">
                <a:solidFill>
                  <a:srgbClr val="0A1D3E"/>
                </a:solidFill>
                <a:latin typeface="Calibri" panose="020F0502020204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Functions and components considered </a:t>
            </a:r>
            <a:br>
              <a:rPr kumimoji="0" lang="en-GB" sz="2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br>
            <a:r>
              <a:rPr kumimoji="0" lang="en-GB" sz="2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within the pre-deployment trains</a:t>
            </a:r>
          </a:p>
        </p:txBody>
      </p:sp>
      <p:sp>
        <p:nvSpPr>
          <p:cNvPr id="4" name="TextBox 3">
            <a:extLst>
              <a:ext uri="{FF2B5EF4-FFF2-40B4-BE49-F238E27FC236}">
                <a16:creationId xmlns:a16="http://schemas.microsoft.com/office/drawing/2014/main" id="{2A4268B9-67E5-4678-5934-1D69D165B730}"/>
              </a:ext>
            </a:extLst>
          </p:cNvPr>
          <p:cNvSpPr txBox="1"/>
          <p:nvPr/>
        </p:nvSpPr>
        <p:spPr>
          <a:xfrm>
            <a:off x="1706948" y="2057241"/>
            <a:ext cx="8768703" cy="3979103"/>
          </a:xfrm>
          <a:prstGeom prst="rect">
            <a:avLst/>
          </a:prstGeom>
          <a:noFill/>
        </p:spPr>
        <p:txBody>
          <a:bodyPr wrap="square">
            <a:spAutoFit/>
          </a:bodyPr>
          <a:lstStyle/>
          <a:p>
            <a:pPr algn="just">
              <a:lnSpc>
                <a:spcPts val="2100"/>
              </a:lnSpc>
              <a:spcAft>
                <a:spcPts val="1200"/>
              </a:spcAft>
            </a:pPr>
            <a:r>
              <a:rPr lang="pl-PL" sz="1600">
                <a:solidFill>
                  <a:srgbClr val="132E63"/>
                </a:solidFill>
                <a:effectLst/>
                <a:latin typeface="Open Sans" pitchFamily="2" charset="0"/>
                <a:ea typeface="Open Sans" pitchFamily="2" charset="0"/>
                <a:cs typeface="Open Sans" pitchFamily="2" charset="0"/>
              </a:rPr>
              <a:t>The 100 pre-deployment trains shall be equipped with the </a:t>
            </a:r>
            <a:r>
              <a:rPr lang="pl-PL" sz="1600" b="1">
                <a:solidFill>
                  <a:srgbClr val="C00000"/>
                </a:solidFill>
                <a:effectLst/>
                <a:latin typeface="Open Sans" pitchFamily="2" charset="0"/>
                <a:ea typeface="Open Sans" pitchFamily="2" charset="0"/>
                <a:cs typeface="Open Sans" pitchFamily="2" charset="0"/>
              </a:rPr>
              <a:t>DAC basic package</a:t>
            </a:r>
            <a:r>
              <a:rPr lang="pl-PL" sz="1600">
                <a:solidFill>
                  <a:srgbClr val="46556E"/>
                </a:solidFill>
                <a:effectLst/>
                <a:latin typeface="Open Sans" pitchFamily="2" charset="0"/>
                <a:ea typeface="Open Sans" pitchFamily="2" charset="0"/>
                <a:cs typeface="Open Sans" pitchFamily="2" charset="0"/>
              </a:rPr>
              <a:t>:</a:t>
            </a:r>
            <a:endParaRPr lang="en-GB" sz="1600">
              <a:effectLst/>
              <a:latin typeface="Open Sans" pitchFamily="2" charset="0"/>
              <a:ea typeface="Open Sans" pitchFamily="2" charset="0"/>
              <a:cs typeface="Open Sans" pitchFamily="2" charset="0"/>
            </a:endParaRPr>
          </a:p>
          <a:p>
            <a:pPr marL="342900" lvl="0" indent="-342900" algn="just">
              <a:lnSpc>
                <a:spcPts val="2100"/>
              </a:lnSpc>
              <a:spcAft>
                <a:spcPts val="1200"/>
              </a:spcAft>
              <a:buFont typeface="Symbol" panose="05050102010706020507" pitchFamily="18" charset="2"/>
              <a:buChar char=""/>
            </a:pPr>
            <a:r>
              <a:rPr lang="pl-PL" sz="1600">
                <a:solidFill>
                  <a:srgbClr val="132E63"/>
                </a:solidFill>
                <a:effectLst/>
                <a:latin typeface="Open Sans" pitchFamily="2" charset="0"/>
                <a:ea typeface="Open Sans" pitchFamily="2" charset="0"/>
                <a:cs typeface="Open Sans" pitchFamily="2" charset="0"/>
              </a:rPr>
              <a:t>DAC</a:t>
            </a:r>
            <a:r>
              <a:rPr lang="fr-BE" sz="1600">
                <a:solidFill>
                  <a:srgbClr val="132E63"/>
                </a:solidFill>
                <a:effectLst/>
                <a:latin typeface="Open Sans" pitchFamily="2" charset="0"/>
                <a:ea typeface="Open Sans" pitchFamily="2" charset="0"/>
                <a:cs typeface="Open Sans" pitchFamily="2" charset="0"/>
              </a:rPr>
              <a:t> </a:t>
            </a:r>
            <a:r>
              <a:rPr lang="pl-PL" sz="1600">
                <a:solidFill>
                  <a:srgbClr val="132E63"/>
                </a:solidFill>
                <a:effectLst/>
                <a:latin typeface="Open Sans" pitchFamily="2" charset="0"/>
                <a:ea typeface="Open Sans" pitchFamily="2" charset="0"/>
                <a:cs typeface="Open Sans" pitchFamily="2" charset="0"/>
              </a:rPr>
              <a:t>coupler incl. energy and data system</a:t>
            </a:r>
            <a:endParaRPr lang="en-GB" sz="1600">
              <a:solidFill>
                <a:srgbClr val="132E63"/>
              </a:solidFill>
              <a:effectLst/>
              <a:latin typeface="Open Sans" pitchFamily="2" charset="0"/>
              <a:ea typeface="Open Sans" pitchFamily="2" charset="0"/>
              <a:cs typeface="Open Sans" pitchFamily="2" charset="0"/>
            </a:endParaRPr>
          </a:p>
          <a:p>
            <a:pPr marL="342900" lvl="0" indent="-342900" algn="just">
              <a:lnSpc>
                <a:spcPts val="2100"/>
              </a:lnSpc>
              <a:spcAft>
                <a:spcPts val="1200"/>
              </a:spcAft>
              <a:buFont typeface="Symbol" panose="05050102010706020507" pitchFamily="18" charset="2"/>
              <a:buChar char=""/>
            </a:pPr>
            <a:r>
              <a:rPr lang="pl-PL" sz="1600">
                <a:solidFill>
                  <a:srgbClr val="132E63"/>
                </a:solidFill>
                <a:effectLst/>
                <a:latin typeface="Open Sans" pitchFamily="2" charset="0"/>
                <a:ea typeface="Open Sans" pitchFamily="2" charset="0"/>
                <a:cs typeface="Open Sans" pitchFamily="2" charset="0"/>
              </a:rPr>
              <a:t>train composition detection</a:t>
            </a:r>
            <a:endParaRPr lang="en-GB" sz="1600">
              <a:solidFill>
                <a:srgbClr val="132E63"/>
              </a:solidFill>
              <a:effectLst/>
              <a:latin typeface="Open Sans" pitchFamily="2" charset="0"/>
              <a:ea typeface="Open Sans" pitchFamily="2" charset="0"/>
              <a:cs typeface="Open Sans" pitchFamily="2" charset="0"/>
            </a:endParaRPr>
          </a:p>
          <a:p>
            <a:pPr marL="342900" lvl="0" indent="-342900" algn="just">
              <a:lnSpc>
                <a:spcPts val="2100"/>
              </a:lnSpc>
              <a:spcAft>
                <a:spcPts val="1200"/>
              </a:spcAft>
              <a:buFont typeface="Symbol" panose="05050102010706020507" pitchFamily="18" charset="2"/>
              <a:buChar char=""/>
            </a:pPr>
            <a:r>
              <a:rPr lang="pl-PL" sz="1600">
                <a:solidFill>
                  <a:srgbClr val="132E63"/>
                </a:solidFill>
                <a:effectLst/>
                <a:latin typeface="Open Sans" pitchFamily="2" charset="0"/>
                <a:ea typeface="Open Sans" pitchFamily="2" charset="0"/>
                <a:cs typeface="Open Sans" pitchFamily="2" charset="0"/>
              </a:rPr>
              <a:t>Automated brake test</a:t>
            </a:r>
            <a:endParaRPr lang="en-GB" sz="1600">
              <a:solidFill>
                <a:srgbClr val="132E63"/>
              </a:solidFill>
              <a:effectLst/>
              <a:latin typeface="Open Sans" pitchFamily="2" charset="0"/>
              <a:ea typeface="Open Sans" pitchFamily="2" charset="0"/>
              <a:cs typeface="Open Sans" pitchFamily="2" charset="0"/>
            </a:endParaRPr>
          </a:p>
          <a:p>
            <a:pPr marL="342900" lvl="0" indent="-342900" algn="just">
              <a:lnSpc>
                <a:spcPts val="2100"/>
              </a:lnSpc>
              <a:spcAft>
                <a:spcPts val="1200"/>
              </a:spcAft>
              <a:buFont typeface="Symbol" panose="05050102010706020507" pitchFamily="18" charset="2"/>
              <a:buChar char=""/>
            </a:pPr>
            <a:r>
              <a:rPr lang="pl-PL" sz="1600">
                <a:solidFill>
                  <a:srgbClr val="132E63"/>
                </a:solidFill>
                <a:effectLst/>
                <a:latin typeface="Open Sans" pitchFamily="2" charset="0"/>
                <a:ea typeface="Open Sans" pitchFamily="2" charset="0"/>
                <a:cs typeface="Open Sans" pitchFamily="2" charset="0"/>
              </a:rPr>
              <a:t>Train integrity/train length determination</a:t>
            </a:r>
            <a:endParaRPr lang="en-GB" sz="1600">
              <a:solidFill>
                <a:srgbClr val="132E63"/>
              </a:solidFill>
              <a:effectLst/>
              <a:latin typeface="Open Sans" pitchFamily="2" charset="0"/>
              <a:ea typeface="Open Sans" pitchFamily="2" charset="0"/>
              <a:cs typeface="Open Sans" pitchFamily="2" charset="0"/>
            </a:endParaRPr>
          </a:p>
          <a:p>
            <a:pPr marL="342900" lvl="0" indent="-342900" algn="just">
              <a:lnSpc>
                <a:spcPts val="2100"/>
              </a:lnSpc>
              <a:spcAft>
                <a:spcPts val="1200"/>
              </a:spcAft>
              <a:buFont typeface="Symbol" panose="05050102010706020507" pitchFamily="18" charset="2"/>
              <a:buChar char=""/>
            </a:pPr>
            <a:r>
              <a:rPr lang="pl-PL" sz="1600">
                <a:solidFill>
                  <a:srgbClr val="132E63"/>
                </a:solidFill>
                <a:effectLst/>
                <a:latin typeface="Open Sans" pitchFamily="2" charset="0"/>
                <a:ea typeface="Open Sans" pitchFamily="2" charset="0"/>
                <a:cs typeface="Open Sans" pitchFamily="2" charset="0"/>
              </a:rPr>
              <a:t>Automated uncoupling (in-train from loco)</a:t>
            </a:r>
            <a:endParaRPr lang="fr-BE" sz="1600">
              <a:solidFill>
                <a:srgbClr val="132E63"/>
              </a:solidFill>
              <a:effectLst/>
              <a:latin typeface="Open Sans" pitchFamily="2" charset="0"/>
              <a:ea typeface="Open Sans" pitchFamily="2" charset="0"/>
              <a:cs typeface="Open Sans" pitchFamily="2" charset="0"/>
            </a:endParaRPr>
          </a:p>
          <a:p>
            <a:pPr lvl="0" algn="just">
              <a:lnSpc>
                <a:spcPts val="2100"/>
              </a:lnSpc>
              <a:spcAft>
                <a:spcPts val="1200"/>
              </a:spcAft>
            </a:pPr>
            <a:endParaRPr lang="fr-BE" sz="1600">
              <a:solidFill>
                <a:srgbClr val="132E63"/>
              </a:solidFill>
              <a:latin typeface="Open Sans" pitchFamily="2" charset="0"/>
              <a:ea typeface="Open Sans" pitchFamily="2" charset="0"/>
              <a:cs typeface="Open Sans" pitchFamily="2" charset="0"/>
            </a:endParaRPr>
          </a:p>
          <a:p>
            <a:pPr marL="17780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tab pos="8343900" algn="l"/>
              </a:tabLst>
              <a:defRPr/>
            </a:pPr>
            <a:r>
              <a:rPr kumimoji="0" lang="en-GB" sz="1100" b="0" i="1" u="none" strike="noStrike" kern="0" cap="none" spc="0" normalizeH="0" baseline="0" noProof="0">
                <a:ln>
                  <a:noFill/>
                </a:ln>
                <a:solidFill>
                  <a:srgbClr val="132E63"/>
                </a:solidFill>
                <a:effectLst/>
                <a:uLnTx/>
                <a:uFillTx/>
                <a:latin typeface="Open Sans" pitchFamily="2" charset="0"/>
                <a:ea typeface="Open Sans" pitchFamily="2" charset="0"/>
                <a:cs typeface="Open Sans" pitchFamily="2" charset="0"/>
              </a:rPr>
              <a:t>coupler with mechanical or push-button uncoupling from wagon side and including “prevent coupling” function</a:t>
            </a:r>
            <a:endParaRPr kumimoji="0" lang="en-GB" sz="1600" b="0" i="0" u="none" strike="noStrike" kern="1200" cap="none" spc="0" normalizeH="0" baseline="0" noProof="0">
              <a:ln>
                <a:noFill/>
              </a:ln>
              <a:solidFill>
                <a:srgbClr val="132E63"/>
              </a:solidFill>
              <a:effectLst/>
              <a:uLnTx/>
              <a:uFillTx/>
              <a:latin typeface="Open Sans" pitchFamily="2" charset="0"/>
              <a:ea typeface="Open Sans" pitchFamily="2" charset="0"/>
              <a:cs typeface="Open Sans" pitchFamily="2" charset="0"/>
            </a:endParaRPr>
          </a:p>
          <a:p>
            <a:pPr lvl="0" algn="just">
              <a:lnSpc>
                <a:spcPts val="2100"/>
              </a:lnSpc>
              <a:spcAft>
                <a:spcPts val="1200"/>
              </a:spcAft>
            </a:pPr>
            <a:endParaRPr lang="fr-BE" sz="1600">
              <a:solidFill>
                <a:srgbClr val="132E63"/>
              </a:solidFill>
              <a:latin typeface="Open Sans" pitchFamily="2" charset="0"/>
              <a:ea typeface="Open Sans" pitchFamily="2" charset="0"/>
              <a:cs typeface="Open Sans" pitchFamily="2" charset="0"/>
            </a:endParaRPr>
          </a:p>
          <a:p>
            <a:pPr marL="342900" lvl="0" indent="-342900" algn="just">
              <a:lnSpc>
                <a:spcPts val="2100"/>
              </a:lnSpc>
              <a:spcAft>
                <a:spcPts val="1200"/>
              </a:spcAft>
              <a:buFont typeface="Symbol" panose="05050102010706020507" pitchFamily="18" charset="2"/>
              <a:buChar char=""/>
            </a:pPr>
            <a:r>
              <a:rPr lang="en-GB" sz="1600" i="1">
                <a:solidFill>
                  <a:srgbClr val="132E63"/>
                </a:solidFill>
                <a:latin typeface="Open Sans" pitchFamily="2" charset="0"/>
                <a:ea typeface="Open Sans" pitchFamily="2" charset="0"/>
                <a:cs typeface="Open Sans" pitchFamily="2" charset="0"/>
              </a:rPr>
              <a:t>(Hybrid coupler for locos and DAC for special wagons, e. g. T3000 – if applicable)</a:t>
            </a:r>
            <a:endParaRPr lang="fr-BE" sz="1600" i="1">
              <a:solidFill>
                <a:srgbClr val="132E63"/>
              </a:solidFill>
              <a:latin typeface="Open Sans" pitchFamily="2" charset="0"/>
              <a:ea typeface="Open Sans" pitchFamily="2" charset="0"/>
              <a:cs typeface="Open Sans" pitchFamily="2" charset="0"/>
            </a:endParaRPr>
          </a:p>
        </p:txBody>
      </p:sp>
    </p:spTree>
    <p:extLst>
      <p:ext uri="{BB962C8B-B14F-4D97-AF65-F5344CB8AC3E}">
        <p14:creationId xmlns:p14="http://schemas.microsoft.com/office/powerpoint/2010/main" val="3270068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242F6-EA84-C903-BD2A-AE7A7CF5EEB6}"/>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219C366-6E00-603A-024F-2F8C5CF1E69F}"/>
              </a:ext>
            </a:extLst>
          </p:cNvPr>
          <p:cNvSpPr>
            <a:spLocks noGrp="1"/>
          </p:cNvSpPr>
          <p:nvPr>
            <p:ph type="sldNum" sz="quarter" idx="4"/>
          </p:nvPr>
        </p:nvSpPr>
        <p:spPr>
          <a:xfrm>
            <a:off x="10932718" y="6453337"/>
            <a:ext cx="587282" cy="239633"/>
          </a:xfrm>
          <a:prstGeom prst="rect">
            <a:avLst/>
          </a:prstGeom>
        </p:spPr>
        <p:txBody>
          <a:bodyPr vert="horz" lIns="0" tIns="0" rIns="0" bIns="0" rtlCol="0" anchor="t" anchorCtr="0"/>
          <a:lstStyle>
            <a:defPPr>
              <a:defRPr lang="fr-FR"/>
            </a:defPPr>
            <a:lvl1pPr marL="0" algn="r" defTabSz="914400" rtl="0" eaLnBrk="1" latinLnBrk="0" hangingPunct="1">
              <a:defRPr lang="de-DE" sz="799" kern="1200" smtClean="0">
                <a:solidFill>
                  <a:schemeClr val="bg1"/>
                </a:solidFill>
                <a:latin typeface="Arial" charset="0"/>
                <a:ea typeface="ヒラギノ角ゴ Pro W3" charset="0"/>
                <a:cs typeface="ヒラギノ角ゴ Pro W3"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8D91C70-5C3D-E148-A360-4F6F11B94339}" type="slidenum">
              <a:rPr lang="de-AT" smtClean="0">
                <a:latin typeface="Open Sans" pitchFamily="2" charset="0"/>
                <a:ea typeface="Open Sans" pitchFamily="2" charset="0"/>
                <a:cs typeface="Open Sans" pitchFamily="2" charset="0"/>
              </a:rPr>
              <a:pPr/>
              <a:t>12</a:t>
            </a:fld>
            <a:endParaRPr lang="en-GB">
              <a:latin typeface="Open Sans" pitchFamily="2" charset="0"/>
              <a:ea typeface="Open Sans" pitchFamily="2" charset="0"/>
              <a:cs typeface="Open Sans" pitchFamily="2" charset="0"/>
            </a:endParaRPr>
          </a:p>
        </p:txBody>
      </p:sp>
      <p:sp>
        <p:nvSpPr>
          <p:cNvPr id="5" name="Title 1">
            <a:extLst>
              <a:ext uri="{FF2B5EF4-FFF2-40B4-BE49-F238E27FC236}">
                <a16:creationId xmlns:a16="http://schemas.microsoft.com/office/drawing/2014/main" id="{697697BD-2B3E-7295-2E65-CA6E5F7ADCA0}"/>
              </a:ext>
            </a:extLst>
          </p:cNvPr>
          <p:cNvSpPr txBox="1">
            <a:spLocks/>
          </p:cNvSpPr>
          <p:nvPr/>
        </p:nvSpPr>
        <p:spPr>
          <a:xfrm>
            <a:off x="1828803" y="237629"/>
            <a:ext cx="8746174" cy="66962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400" kern="1200">
                <a:solidFill>
                  <a:srgbClr val="0A1D3E"/>
                </a:solidFill>
                <a:latin typeface="Calibri" panose="020F0502020204030204"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a:ln>
                  <a:noFill/>
                </a:ln>
                <a:solidFill>
                  <a:srgbClr val="132E63"/>
                </a:solidFill>
                <a:effectLst/>
                <a:uLnTx/>
                <a:uFillTx/>
                <a:latin typeface="Open Sans" pitchFamily="2" charset="0"/>
                <a:ea typeface="Open Sans" pitchFamily="2" charset="0"/>
                <a:cs typeface="Open Sans" pitchFamily="2" charset="0"/>
              </a:rPr>
              <a:t>Why large-scale testing and a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000" b="1" i="0" u="none" strike="noStrike" kern="1200" cap="none" spc="0" normalizeH="0" baseline="0" noProof="0">
                <a:ln>
                  <a:noFill/>
                </a:ln>
                <a:solidFill>
                  <a:srgbClr val="132E63"/>
                </a:solidFill>
                <a:effectLst/>
                <a:uLnTx/>
                <a:uFillTx/>
                <a:latin typeface="Open Sans" pitchFamily="2" charset="0"/>
                <a:ea typeface="Open Sans" pitchFamily="2" charset="0"/>
                <a:cs typeface="Open Sans" pitchFamily="2" charset="0"/>
              </a:rPr>
              <a:t>pre-deployment phase is needed</a:t>
            </a:r>
          </a:p>
        </p:txBody>
      </p:sp>
      <p:sp>
        <p:nvSpPr>
          <p:cNvPr id="4" name="TextBox 3">
            <a:extLst>
              <a:ext uri="{FF2B5EF4-FFF2-40B4-BE49-F238E27FC236}">
                <a16:creationId xmlns:a16="http://schemas.microsoft.com/office/drawing/2014/main" id="{D2DC759F-B5B5-A3B9-FB92-D65B326436A4}"/>
              </a:ext>
            </a:extLst>
          </p:cNvPr>
          <p:cNvSpPr txBox="1"/>
          <p:nvPr/>
        </p:nvSpPr>
        <p:spPr>
          <a:xfrm>
            <a:off x="1191395" y="1402493"/>
            <a:ext cx="10432263" cy="4755148"/>
          </a:xfrm>
          <a:prstGeom prst="rect">
            <a:avLst/>
          </a:prstGeom>
          <a:noFill/>
        </p:spPr>
        <p:txBody>
          <a:bodyPr wrap="square">
            <a:spAutoFit/>
          </a:bodyPr>
          <a:lstStyle/>
          <a:p>
            <a:pPr algn="just">
              <a:spcAft>
                <a:spcPts val="600"/>
              </a:spcAft>
            </a:pPr>
            <a:r>
              <a:rPr lang="en-GB" b="1">
                <a:solidFill>
                  <a:srgbClr val="97C62E"/>
                </a:solidFill>
                <a:effectLst/>
                <a:latin typeface="Open Sans" pitchFamily="2" charset="0"/>
                <a:ea typeface="Open Sans" pitchFamily="2" charset="0"/>
                <a:cs typeface="Open Sans" pitchFamily="2" charset="0"/>
              </a:rPr>
              <a:t>Three objectives:</a:t>
            </a:r>
          </a:p>
          <a:p>
            <a:pPr algn="just">
              <a:spcAft>
                <a:spcPts val="600"/>
              </a:spcAft>
              <a:tabLst>
                <a:tab pos="447675" algn="l"/>
                <a:tab pos="896938" algn="l"/>
              </a:tabLst>
            </a:pPr>
            <a:endParaRPr lang="en-GB" sz="1400" b="1">
              <a:solidFill>
                <a:srgbClr val="46556E"/>
              </a:solidFill>
              <a:effectLst/>
              <a:latin typeface="Open Sans" pitchFamily="2" charset="0"/>
              <a:ea typeface="Open Sans" pitchFamily="2" charset="0"/>
              <a:cs typeface="Open Sans" pitchFamily="2" charset="0"/>
            </a:endParaRPr>
          </a:p>
          <a:p>
            <a:pPr algn="just">
              <a:spcAft>
                <a:spcPts val="600"/>
              </a:spcAft>
              <a:tabLst>
                <a:tab pos="447675" algn="l"/>
                <a:tab pos="896938" algn="l"/>
              </a:tabLst>
            </a:pPr>
            <a:r>
              <a:rPr lang="en-GB" sz="1400" b="1">
                <a:solidFill>
                  <a:srgbClr val="46556E"/>
                </a:solidFill>
                <a:effectLst/>
                <a:latin typeface="Open Sans" pitchFamily="2" charset="0"/>
                <a:ea typeface="Open Sans" pitchFamily="2" charset="0"/>
                <a:cs typeface="Open Sans" pitchFamily="2" charset="0"/>
              </a:rPr>
              <a:t>	</a:t>
            </a:r>
            <a:r>
              <a:rPr lang="en-GB" sz="1400" b="1">
                <a:solidFill>
                  <a:srgbClr val="132E63"/>
                </a:solidFill>
                <a:effectLst/>
                <a:latin typeface="Open Sans" pitchFamily="2" charset="0"/>
                <a:ea typeface="Open Sans" pitchFamily="2" charset="0"/>
                <a:cs typeface="Open Sans" pitchFamily="2" charset="0"/>
              </a:rPr>
              <a:t>Ensure full reliability of the DAC technology</a:t>
            </a:r>
          </a:p>
          <a:p>
            <a:pPr algn="just">
              <a:spcAft>
                <a:spcPts val="600"/>
              </a:spcAft>
              <a:tabLst>
                <a:tab pos="447675" algn="l"/>
                <a:tab pos="896938" algn="l"/>
              </a:tabLst>
            </a:pPr>
            <a:r>
              <a:rPr lang="en-GB" sz="1400">
                <a:solidFill>
                  <a:srgbClr val="132E63"/>
                </a:solidFill>
                <a:latin typeface="Open Sans" pitchFamily="2" charset="0"/>
                <a:ea typeface="Open Sans" pitchFamily="2" charset="0"/>
                <a:cs typeface="Open Sans" pitchFamily="2" charset="0"/>
              </a:rPr>
              <a:t>		</a:t>
            </a:r>
            <a:r>
              <a:rPr lang="en-GB" sz="1400">
                <a:solidFill>
                  <a:srgbClr val="132E63"/>
                </a:solidFill>
                <a:effectLst/>
                <a:latin typeface="Open Sans" pitchFamily="2" charset="0"/>
                <a:ea typeface="Open Sans" pitchFamily="2" charset="0"/>
                <a:cs typeface="Open Sans" pitchFamily="2" charset="0"/>
              </a:rPr>
              <a:t>- Test DAC technology in commercial operations</a:t>
            </a:r>
          </a:p>
          <a:p>
            <a:pPr algn="just">
              <a:spcAft>
                <a:spcPts val="600"/>
              </a:spcAft>
              <a:tabLst>
                <a:tab pos="447675" algn="l"/>
                <a:tab pos="896938" algn="l"/>
              </a:tabLst>
            </a:pPr>
            <a:r>
              <a:rPr lang="en-GB" sz="1400">
                <a:solidFill>
                  <a:srgbClr val="132E63"/>
                </a:solidFill>
                <a:latin typeface="Open Sans" pitchFamily="2" charset="0"/>
                <a:ea typeface="Open Sans" pitchFamily="2" charset="0"/>
                <a:cs typeface="Open Sans" pitchFamily="2" charset="0"/>
              </a:rPr>
              <a:t>		</a:t>
            </a:r>
            <a:r>
              <a:rPr lang="en-GB" sz="1400">
                <a:solidFill>
                  <a:srgbClr val="132E63"/>
                </a:solidFill>
                <a:effectLst/>
                <a:latin typeface="Open Sans" pitchFamily="2" charset="0"/>
                <a:ea typeface="Open Sans" pitchFamily="2" charset="0"/>
                <a:cs typeface="Open Sans" pitchFamily="2" charset="0"/>
              </a:rPr>
              <a:t>- Assess the validity of assumptions developed in EDDP (Migration) / FP5 (Design) </a:t>
            </a:r>
          </a:p>
          <a:p>
            <a:pPr algn="just">
              <a:spcAft>
                <a:spcPts val="600"/>
              </a:spcAft>
              <a:tabLst>
                <a:tab pos="447675" algn="l"/>
                <a:tab pos="896938" algn="l"/>
              </a:tabLst>
            </a:pPr>
            <a:r>
              <a:rPr lang="en-GB" sz="1400">
                <a:solidFill>
                  <a:srgbClr val="132E63"/>
                </a:solidFill>
                <a:latin typeface="Open Sans" pitchFamily="2" charset="0"/>
                <a:ea typeface="Open Sans" pitchFamily="2" charset="0"/>
                <a:cs typeface="Open Sans" pitchFamily="2" charset="0"/>
              </a:rPr>
              <a:t>		</a:t>
            </a:r>
            <a:r>
              <a:rPr lang="en-GB" sz="1400">
                <a:solidFill>
                  <a:srgbClr val="132E63"/>
                </a:solidFill>
                <a:effectLst/>
                <a:latin typeface="Open Sans" pitchFamily="2" charset="0"/>
                <a:ea typeface="Open Sans" pitchFamily="2" charset="0"/>
                <a:cs typeface="Open Sans" pitchFamily="2" charset="0"/>
              </a:rPr>
              <a:t>- Assess technology integration by collaboration with FP5 technology providers and suppliers of existing assets</a:t>
            </a:r>
          </a:p>
          <a:p>
            <a:pPr algn="just">
              <a:spcAft>
                <a:spcPts val="600"/>
              </a:spcAft>
              <a:tabLst>
                <a:tab pos="447675" algn="l"/>
                <a:tab pos="896938" algn="l"/>
              </a:tabLst>
            </a:pPr>
            <a:endParaRPr lang="en-GB" sz="1400">
              <a:solidFill>
                <a:srgbClr val="132E63"/>
              </a:solidFill>
              <a:effectLst/>
              <a:latin typeface="Open Sans" pitchFamily="2" charset="0"/>
              <a:ea typeface="Open Sans" pitchFamily="2" charset="0"/>
              <a:cs typeface="Open Sans" pitchFamily="2" charset="0"/>
            </a:endParaRPr>
          </a:p>
          <a:p>
            <a:pPr algn="just">
              <a:spcAft>
                <a:spcPts val="600"/>
              </a:spcAft>
              <a:tabLst>
                <a:tab pos="447675" algn="l"/>
                <a:tab pos="896938" algn="l"/>
              </a:tabLst>
            </a:pPr>
            <a:r>
              <a:rPr lang="en-GB" sz="1400" b="1">
                <a:solidFill>
                  <a:srgbClr val="132E63"/>
                </a:solidFill>
                <a:effectLst/>
                <a:latin typeface="Open Sans" pitchFamily="2" charset="0"/>
                <a:ea typeface="Open Sans" pitchFamily="2" charset="0"/>
                <a:cs typeface="Open Sans" pitchFamily="2" charset="0"/>
              </a:rPr>
              <a:t>	Prove added value and optimise EDDP processes for full DAC roll-out</a:t>
            </a:r>
          </a:p>
          <a:p>
            <a:pPr algn="just">
              <a:spcAft>
                <a:spcPts val="600"/>
              </a:spcAft>
              <a:tabLst>
                <a:tab pos="447675" algn="l"/>
                <a:tab pos="896938" algn="l"/>
              </a:tabLst>
            </a:pPr>
            <a:r>
              <a:rPr lang="en-GB" sz="1400">
                <a:solidFill>
                  <a:srgbClr val="132E63"/>
                </a:solidFill>
                <a:effectLst/>
                <a:latin typeface="Open Sans" pitchFamily="2" charset="0"/>
                <a:ea typeface="Open Sans" pitchFamily="2" charset="0"/>
                <a:cs typeface="Open Sans" pitchFamily="2" charset="0"/>
              </a:rPr>
              <a:t>		- Gather information for full-scale deployment and roll-out</a:t>
            </a:r>
          </a:p>
          <a:p>
            <a:pPr algn="just">
              <a:spcAft>
                <a:spcPts val="600"/>
              </a:spcAft>
              <a:tabLst>
                <a:tab pos="447675" algn="l"/>
                <a:tab pos="896938" algn="l"/>
              </a:tabLst>
            </a:pPr>
            <a:r>
              <a:rPr lang="en-GB" sz="1400">
                <a:solidFill>
                  <a:srgbClr val="132E63"/>
                </a:solidFill>
                <a:latin typeface="Open Sans" pitchFamily="2" charset="0"/>
                <a:ea typeface="Open Sans" pitchFamily="2" charset="0"/>
                <a:cs typeface="Open Sans" pitchFamily="2" charset="0"/>
              </a:rPr>
              <a:t>		- </a:t>
            </a:r>
            <a:r>
              <a:rPr lang="en-GB" sz="1400">
                <a:solidFill>
                  <a:srgbClr val="132E63"/>
                </a:solidFill>
                <a:effectLst/>
                <a:latin typeface="Open Sans" pitchFamily="2" charset="0"/>
                <a:ea typeface="Open Sans" pitchFamily="2" charset="0"/>
                <a:cs typeface="Open Sans" pitchFamily="2" charset="0"/>
              </a:rPr>
              <a:t>Learn and develop. Create a steppingstone towards full DAC deployment</a:t>
            </a:r>
          </a:p>
          <a:p>
            <a:pPr algn="just">
              <a:spcAft>
                <a:spcPts val="600"/>
              </a:spcAft>
              <a:tabLst>
                <a:tab pos="447675" algn="l"/>
                <a:tab pos="896938" algn="l"/>
              </a:tabLst>
            </a:pPr>
            <a:r>
              <a:rPr lang="en-GB" sz="1400">
                <a:solidFill>
                  <a:srgbClr val="132E63"/>
                </a:solidFill>
                <a:latin typeface="Open Sans" pitchFamily="2" charset="0"/>
                <a:ea typeface="Open Sans" pitchFamily="2" charset="0"/>
                <a:cs typeface="Open Sans" pitchFamily="2" charset="0"/>
              </a:rPr>
              <a:t>		</a:t>
            </a:r>
            <a:r>
              <a:rPr lang="en-GB" sz="1400">
                <a:solidFill>
                  <a:srgbClr val="132E63"/>
                </a:solidFill>
                <a:effectLst/>
                <a:latin typeface="Open Sans" pitchFamily="2" charset="0"/>
                <a:ea typeface="Open Sans" pitchFamily="2" charset="0"/>
                <a:cs typeface="Open Sans" pitchFamily="2" charset="0"/>
              </a:rPr>
              <a:t>- inform and communicate with stakeholders</a:t>
            </a:r>
          </a:p>
          <a:p>
            <a:pPr algn="just">
              <a:spcAft>
                <a:spcPts val="600"/>
              </a:spcAft>
              <a:tabLst>
                <a:tab pos="447675" algn="l"/>
                <a:tab pos="896938" algn="l"/>
              </a:tabLst>
            </a:pPr>
            <a:endParaRPr lang="en-GB" sz="1400">
              <a:solidFill>
                <a:srgbClr val="132E63"/>
              </a:solidFill>
              <a:effectLst/>
              <a:latin typeface="Open Sans" pitchFamily="2" charset="0"/>
              <a:ea typeface="Open Sans" pitchFamily="2" charset="0"/>
              <a:cs typeface="Open Sans" pitchFamily="2" charset="0"/>
            </a:endParaRPr>
          </a:p>
          <a:p>
            <a:pPr algn="just">
              <a:spcAft>
                <a:spcPts val="600"/>
              </a:spcAft>
              <a:tabLst>
                <a:tab pos="447675" algn="l"/>
                <a:tab pos="896938" algn="l"/>
              </a:tabLst>
            </a:pPr>
            <a:r>
              <a:rPr lang="en-GB" sz="1400" b="1">
                <a:solidFill>
                  <a:srgbClr val="132E63"/>
                </a:solidFill>
                <a:effectLst/>
                <a:latin typeface="Open Sans" pitchFamily="2" charset="0"/>
                <a:ea typeface="Open Sans" pitchFamily="2" charset="0"/>
                <a:cs typeface="Open Sans" pitchFamily="2" charset="0"/>
              </a:rPr>
              <a:t>	Ensure smooth integration of DAC into the overall railway system</a:t>
            </a:r>
          </a:p>
          <a:p>
            <a:pPr algn="just">
              <a:spcAft>
                <a:spcPts val="600"/>
              </a:spcAft>
              <a:tabLst>
                <a:tab pos="447675" algn="l"/>
                <a:tab pos="896938" algn="l"/>
              </a:tabLst>
            </a:pPr>
            <a:r>
              <a:rPr lang="en-GB" sz="1400">
                <a:solidFill>
                  <a:srgbClr val="132E63"/>
                </a:solidFill>
                <a:effectLst/>
                <a:latin typeface="Open Sans" pitchFamily="2" charset="0"/>
                <a:ea typeface="Open Sans" pitchFamily="2" charset="0"/>
                <a:cs typeface="Open Sans" pitchFamily="2" charset="0"/>
              </a:rPr>
              <a:t>		- Ensure (mass) authorisation provisions can effectively be applied</a:t>
            </a:r>
          </a:p>
          <a:p>
            <a:pPr algn="just">
              <a:spcAft>
                <a:spcPts val="600"/>
              </a:spcAft>
              <a:tabLst>
                <a:tab pos="447675" algn="l"/>
                <a:tab pos="896938" algn="l"/>
              </a:tabLst>
            </a:pPr>
            <a:r>
              <a:rPr lang="en-GB" sz="1400">
                <a:solidFill>
                  <a:srgbClr val="132E63"/>
                </a:solidFill>
                <a:effectLst/>
                <a:latin typeface="Open Sans" pitchFamily="2" charset="0"/>
                <a:ea typeface="Open Sans" pitchFamily="2" charset="0"/>
                <a:cs typeface="Open Sans" pitchFamily="2" charset="0"/>
              </a:rPr>
              <a:t>		- Test interchangeability/broad interoperability with other digital systems on trains, tracks and central IT systems</a:t>
            </a:r>
          </a:p>
          <a:p>
            <a:pPr algn="just">
              <a:spcAft>
                <a:spcPts val="600"/>
              </a:spcAft>
              <a:tabLst>
                <a:tab pos="447675" algn="l"/>
                <a:tab pos="896938" algn="l"/>
              </a:tabLst>
            </a:pPr>
            <a:r>
              <a:rPr lang="en-GB" sz="1400">
                <a:solidFill>
                  <a:srgbClr val="132E63"/>
                </a:solidFill>
                <a:latin typeface="Open Sans" pitchFamily="2" charset="0"/>
                <a:ea typeface="Open Sans" pitchFamily="2" charset="0"/>
                <a:cs typeface="Open Sans" pitchFamily="2" charset="0"/>
              </a:rPr>
              <a:t>		- </a:t>
            </a:r>
            <a:r>
              <a:rPr lang="en-GB" sz="1400">
                <a:solidFill>
                  <a:srgbClr val="132E63"/>
                </a:solidFill>
                <a:effectLst/>
                <a:latin typeface="Open Sans" pitchFamily="2" charset="0"/>
                <a:ea typeface="Open Sans" pitchFamily="2" charset="0"/>
                <a:cs typeface="Open Sans" pitchFamily="2" charset="0"/>
              </a:rPr>
              <a:t>Assess operational rules effectiveness</a:t>
            </a:r>
          </a:p>
        </p:txBody>
      </p:sp>
      <p:sp>
        <p:nvSpPr>
          <p:cNvPr id="2" name="Oval 1">
            <a:extLst>
              <a:ext uri="{FF2B5EF4-FFF2-40B4-BE49-F238E27FC236}">
                <a16:creationId xmlns:a16="http://schemas.microsoft.com/office/drawing/2014/main" id="{60E99D6E-A010-057D-B6A4-D67078219C4C}"/>
              </a:ext>
            </a:extLst>
          </p:cNvPr>
          <p:cNvSpPr/>
          <p:nvPr/>
        </p:nvSpPr>
        <p:spPr>
          <a:xfrm>
            <a:off x="1205301" y="1937648"/>
            <a:ext cx="403412" cy="403412"/>
          </a:xfrm>
          <a:prstGeom prst="ellipse">
            <a:avLst/>
          </a:prstGeom>
          <a:solidFill>
            <a:srgbClr val="132E6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latin typeface="Open Sans" pitchFamily="2" charset="0"/>
                <a:ea typeface="Open Sans" pitchFamily="2" charset="0"/>
                <a:cs typeface="Open Sans" pitchFamily="2" charset="0"/>
              </a:rPr>
              <a:t>1</a:t>
            </a:r>
          </a:p>
        </p:txBody>
      </p:sp>
      <p:sp>
        <p:nvSpPr>
          <p:cNvPr id="6" name="Oval 5">
            <a:extLst>
              <a:ext uri="{FF2B5EF4-FFF2-40B4-BE49-F238E27FC236}">
                <a16:creationId xmlns:a16="http://schemas.microsoft.com/office/drawing/2014/main" id="{9D096274-6B6A-A9CB-0038-403427002D6F}"/>
              </a:ext>
            </a:extLst>
          </p:cNvPr>
          <p:cNvSpPr/>
          <p:nvPr/>
        </p:nvSpPr>
        <p:spPr>
          <a:xfrm>
            <a:off x="1205301" y="3435527"/>
            <a:ext cx="403412" cy="403412"/>
          </a:xfrm>
          <a:prstGeom prst="ellipse">
            <a:avLst/>
          </a:prstGeom>
          <a:solidFill>
            <a:srgbClr val="132E6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latin typeface="Open Sans" pitchFamily="2" charset="0"/>
                <a:ea typeface="Open Sans" pitchFamily="2" charset="0"/>
                <a:cs typeface="Open Sans" pitchFamily="2" charset="0"/>
              </a:rPr>
              <a:t>2</a:t>
            </a:r>
          </a:p>
        </p:txBody>
      </p:sp>
      <p:sp>
        <p:nvSpPr>
          <p:cNvPr id="7" name="Oval 6">
            <a:extLst>
              <a:ext uri="{FF2B5EF4-FFF2-40B4-BE49-F238E27FC236}">
                <a16:creationId xmlns:a16="http://schemas.microsoft.com/office/drawing/2014/main" id="{AEEB06CD-1535-29E6-BBAE-F28B41424E6B}"/>
              </a:ext>
            </a:extLst>
          </p:cNvPr>
          <p:cNvSpPr/>
          <p:nvPr/>
        </p:nvSpPr>
        <p:spPr>
          <a:xfrm>
            <a:off x="1205301" y="4843756"/>
            <a:ext cx="403412" cy="403412"/>
          </a:xfrm>
          <a:prstGeom prst="ellipse">
            <a:avLst/>
          </a:prstGeom>
          <a:solidFill>
            <a:srgbClr val="132E6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b="1">
                <a:latin typeface="Open Sans" pitchFamily="2" charset="0"/>
                <a:ea typeface="Open Sans" pitchFamily="2" charset="0"/>
                <a:cs typeface="Open Sans" pitchFamily="2" charset="0"/>
              </a:rPr>
              <a:t>3</a:t>
            </a:r>
          </a:p>
        </p:txBody>
      </p:sp>
    </p:spTree>
    <p:extLst>
      <p:ext uri="{BB962C8B-B14F-4D97-AF65-F5344CB8AC3E}">
        <p14:creationId xmlns:p14="http://schemas.microsoft.com/office/powerpoint/2010/main" val="1016060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441728E-F287-094E-D610-47B62C0596DF}"/>
              </a:ext>
            </a:extLst>
          </p:cNvPr>
          <p:cNvSpPr>
            <a:spLocks noGrp="1"/>
          </p:cNvSpPr>
          <p:nvPr>
            <p:ph type="body" sz="quarter" idx="10"/>
          </p:nvPr>
        </p:nvSpPr>
        <p:spPr>
          <a:xfrm>
            <a:off x="2853531" y="2444696"/>
            <a:ext cx="6484937" cy="1053089"/>
          </a:xfrm>
        </p:spPr>
        <p:txBody>
          <a:bodyPr lIns="91440" tIns="45720" rIns="91440" bIns="45720" anchor="t">
            <a:normAutofit fontScale="25000" lnSpcReduction="20000"/>
          </a:bodyPr>
          <a:lstStyle/>
          <a:p>
            <a:r>
              <a:rPr lang="en-GB" sz="14400">
                <a:solidFill>
                  <a:schemeClr val="tx2"/>
                </a:solidFill>
              </a:rPr>
              <a:t>3. Interaction with ERTMS</a:t>
            </a:r>
          </a:p>
          <a:p>
            <a:endParaRPr lang="en-GB" sz="3600">
              <a:solidFill>
                <a:schemeClr val="tx2"/>
              </a:solidFill>
            </a:endParaRPr>
          </a:p>
          <a:p>
            <a:r>
              <a:rPr lang="en-GB" sz="11200">
                <a:solidFill>
                  <a:schemeClr val="tx2"/>
                </a:solidFill>
              </a:rPr>
              <a:t>Operational rulebook</a:t>
            </a:r>
          </a:p>
          <a:p>
            <a:r>
              <a:rPr lang="en-GB" sz="11200">
                <a:solidFill>
                  <a:schemeClr val="tx2"/>
                </a:solidFill>
              </a:rPr>
              <a:t>Train length/-integrity</a:t>
            </a:r>
          </a:p>
          <a:p>
            <a:r>
              <a:rPr lang="en-GB" sz="11200">
                <a:solidFill>
                  <a:schemeClr val="tx2"/>
                </a:solidFill>
                <a:cs typeface="Arial"/>
              </a:rPr>
              <a:t>Other interactions</a:t>
            </a:r>
          </a:p>
          <a:p>
            <a:endParaRPr lang="en-US" sz="3600">
              <a:cs typeface="Arial"/>
            </a:endParaRPr>
          </a:p>
        </p:txBody>
      </p:sp>
    </p:spTree>
    <p:extLst>
      <p:ext uri="{BB962C8B-B14F-4D97-AF65-F5344CB8AC3E}">
        <p14:creationId xmlns:p14="http://schemas.microsoft.com/office/powerpoint/2010/main" val="1200648149"/>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441728E-F287-094E-D610-47B62C0596DF}"/>
              </a:ext>
            </a:extLst>
          </p:cNvPr>
          <p:cNvSpPr>
            <a:spLocks noGrp="1"/>
          </p:cNvSpPr>
          <p:nvPr>
            <p:ph type="body" sz="quarter" idx="10"/>
          </p:nvPr>
        </p:nvSpPr>
        <p:spPr>
          <a:xfrm>
            <a:off x="2853531" y="2444696"/>
            <a:ext cx="6484937" cy="1053089"/>
          </a:xfrm>
        </p:spPr>
        <p:txBody>
          <a:bodyPr lIns="91440" tIns="45720" rIns="91440" bIns="45720" anchor="t">
            <a:normAutofit/>
          </a:bodyPr>
          <a:lstStyle/>
          <a:p>
            <a:r>
              <a:rPr lang="en-GB" sz="3600">
                <a:solidFill>
                  <a:schemeClr val="tx2"/>
                </a:solidFill>
              </a:rPr>
              <a:t>Operational DAC rulebook</a:t>
            </a:r>
          </a:p>
          <a:p>
            <a:endParaRPr lang="en-US" sz="3600"/>
          </a:p>
        </p:txBody>
      </p:sp>
      <p:sp>
        <p:nvSpPr>
          <p:cNvPr id="2" name="TextBox 1">
            <a:extLst>
              <a:ext uri="{FF2B5EF4-FFF2-40B4-BE49-F238E27FC236}">
                <a16:creationId xmlns:a16="http://schemas.microsoft.com/office/drawing/2014/main" id="{1D31D2B4-BC70-5D41-7D91-788021093941}"/>
              </a:ext>
            </a:extLst>
          </p:cNvPr>
          <p:cNvSpPr txBox="1"/>
          <p:nvPr/>
        </p:nvSpPr>
        <p:spPr>
          <a:xfrm>
            <a:off x="3631221" y="3721768"/>
            <a:ext cx="6756978" cy="923330"/>
          </a:xfrm>
          <a:prstGeom prst="rect">
            <a:avLst/>
          </a:prstGeom>
          <a:noFill/>
        </p:spPr>
        <p:txBody>
          <a:bodyPr wrap="none" lIns="91440" tIns="45720" rIns="91440" bIns="45720" rtlCol="0" anchor="t">
            <a:spAutoFit/>
          </a:bodyPr>
          <a:lstStyle/>
          <a:p>
            <a:pPr marL="285750" indent="-285750">
              <a:buFont typeface="Arial" panose="020B0604020202020204" pitchFamily="34" charset="0"/>
              <a:buChar char="•"/>
            </a:pPr>
            <a:r>
              <a:rPr lang="en-GB" sz="1800">
                <a:solidFill>
                  <a:schemeClr val="tx2"/>
                </a:solidFill>
              </a:rPr>
              <a:t>From operational processes to a rulebook</a:t>
            </a:r>
          </a:p>
          <a:p>
            <a:pPr marL="285750" indent="-285750">
              <a:buFont typeface="Arial" panose="020B0604020202020204" pitchFamily="34" charset="0"/>
              <a:buChar char="•"/>
            </a:pPr>
            <a:r>
              <a:rPr lang="en-GB" sz="1800">
                <a:solidFill>
                  <a:schemeClr val="tx2"/>
                </a:solidFill>
              </a:rPr>
              <a:t>Two examples of a DAC rulebook</a:t>
            </a:r>
            <a:endParaRPr lang="en-GB" sz="1800">
              <a:solidFill>
                <a:schemeClr val="tx2"/>
              </a:solidFill>
              <a:cs typeface="Arial"/>
            </a:endParaRPr>
          </a:p>
          <a:p>
            <a:pPr marL="285750" indent="-285750">
              <a:buFont typeface="Arial" panose="020B0604020202020204" pitchFamily="34" charset="0"/>
              <a:buChar char="•"/>
            </a:pPr>
            <a:r>
              <a:rPr lang="en-GB" sz="1800">
                <a:solidFill>
                  <a:schemeClr val="tx2"/>
                </a:solidFill>
              </a:rPr>
              <a:t>Links between CCS/OPE based rulebooks and DAC rulebook</a:t>
            </a:r>
            <a:endParaRPr lang="en-GB" sz="1800">
              <a:solidFill>
                <a:schemeClr val="tx2"/>
              </a:solidFill>
              <a:cs typeface="Arial"/>
            </a:endParaRPr>
          </a:p>
        </p:txBody>
      </p:sp>
    </p:spTree>
    <p:extLst>
      <p:ext uri="{BB962C8B-B14F-4D97-AF65-F5344CB8AC3E}">
        <p14:creationId xmlns:p14="http://schemas.microsoft.com/office/powerpoint/2010/main" val="3338480255"/>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2F78DE-04C8-4FEE-BF74-035AE9398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4" name="think-cell data - do not delete" hidden="1">
                        <a:extLst>
                          <a:ext uri="{FF2B5EF4-FFF2-40B4-BE49-F238E27FC236}">
                            <a16:creationId xmlns:a16="http://schemas.microsoft.com/office/drawing/2014/main" id="{B42F78DE-04C8-4FEE-BF74-035AE9398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FE635721-341F-3EED-80EB-690C7FC9033D}"/>
              </a:ext>
            </a:extLst>
          </p:cNvPr>
          <p:cNvSpPr>
            <a:spLocks noGrp="1"/>
          </p:cNvSpPr>
          <p:nvPr>
            <p:ph type="title"/>
          </p:nvPr>
        </p:nvSpPr>
        <p:spPr>
          <a:xfrm>
            <a:off x="1888181" y="788889"/>
            <a:ext cx="10303819" cy="722820"/>
          </a:xfrm>
        </p:spPr>
        <p:txBody>
          <a:bodyPr vert="horz" lIns="91440" tIns="45720" rIns="91440" bIns="45720" anchor="t">
            <a:noAutofit/>
          </a:bodyPr>
          <a:lstStyle/>
          <a:p>
            <a:r>
              <a:rPr lang="en-GB" sz="2800" b="1" noProof="0"/>
              <a:t>From </a:t>
            </a:r>
            <a:r>
              <a:rPr lang="en-GB" sz="2800" b="1" err="1"/>
              <a:t>prelimniary</a:t>
            </a:r>
            <a:r>
              <a:rPr lang="en-GB" sz="2800" b="1"/>
              <a:t> operational procedures </a:t>
            </a:r>
            <a:r>
              <a:rPr lang="en-GB" sz="2800" b="1" noProof="0"/>
              <a:t>to a rulebook</a:t>
            </a:r>
            <a:r>
              <a:rPr lang="en-GB" sz="2800" b="1"/>
              <a:t> </a:t>
            </a:r>
            <a:endParaRPr lang="en-GB" sz="2800" b="1" noProof="0"/>
          </a:p>
        </p:txBody>
      </p:sp>
      <p:sp>
        <p:nvSpPr>
          <p:cNvPr id="7" name="TextBox 6">
            <a:extLst>
              <a:ext uri="{FF2B5EF4-FFF2-40B4-BE49-F238E27FC236}">
                <a16:creationId xmlns:a16="http://schemas.microsoft.com/office/drawing/2014/main" id="{8227F63B-376E-A7B5-B196-81C0922C2CEB}"/>
              </a:ext>
            </a:extLst>
          </p:cNvPr>
          <p:cNvSpPr txBox="1"/>
          <p:nvPr/>
        </p:nvSpPr>
        <p:spPr>
          <a:xfrm>
            <a:off x="611517" y="1511709"/>
            <a:ext cx="10303819" cy="394210"/>
          </a:xfrm>
          <a:prstGeom prst="rect">
            <a:avLst/>
          </a:prstGeom>
          <a:noFill/>
        </p:spPr>
        <p:txBody>
          <a:bodyPr wrap="square" lIns="91440" tIns="45720" rIns="91440" bIns="45720" anchor="t">
            <a:spAutoFit/>
          </a:bodyPr>
          <a:lstStyle/>
          <a:p>
            <a:pPr algn="just">
              <a:lnSpc>
                <a:spcPct val="120000"/>
              </a:lnSpc>
              <a:spcBef>
                <a:spcPts val="600"/>
              </a:spcBef>
              <a:spcAft>
                <a:spcPts val="600"/>
              </a:spcAft>
            </a:pPr>
            <a:r>
              <a:rPr lang="en-GB" sz="1800" b="1">
                <a:effectLst/>
                <a:latin typeface="Arial"/>
                <a:ea typeface="SimSun"/>
                <a:cs typeface="Times New Roman"/>
              </a:rPr>
              <a:t>How the processes in D2.1 are organized</a:t>
            </a:r>
            <a:endParaRPr lang="en-GB" sz="1800">
              <a:effectLst/>
              <a:latin typeface="Arial" panose="020B0604020202020204" pitchFamily="34" charset="0"/>
              <a:ea typeface="SimSun" panose="02010600030101010101" pitchFamily="2" charset="-122"/>
              <a:cs typeface="Times New Roman" panose="02020603050405020304" pitchFamily="18" charset="0"/>
            </a:endParaRPr>
          </a:p>
        </p:txBody>
      </p:sp>
      <p:pic>
        <p:nvPicPr>
          <p:cNvPr id="11" name="Picture 10">
            <a:extLst>
              <a:ext uri="{FF2B5EF4-FFF2-40B4-BE49-F238E27FC236}">
                <a16:creationId xmlns:a16="http://schemas.microsoft.com/office/drawing/2014/main" id="{CF854288-6821-8A2D-C604-1A7539144FF1}"/>
              </a:ext>
            </a:extLst>
          </p:cNvPr>
          <p:cNvPicPr>
            <a:picLocks noChangeAspect="1"/>
          </p:cNvPicPr>
          <p:nvPr/>
        </p:nvPicPr>
        <p:blipFill>
          <a:blip r:embed="rId5"/>
          <a:stretch>
            <a:fillRect/>
          </a:stretch>
        </p:blipFill>
        <p:spPr>
          <a:xfrm>
            <a:off x="604329" y="2061473"/>
            <a:ext cx="8234225" cy="4427751"/>
          </a:xfrm>
          <a:prstGeom prst="rect">
            <a:avLst/>
          </a:prstGeom>
        </p:spPr>
      </p:pic>
      <p:sp>
        <p:nvSpPr>
          <p:cNvPr id="3" name="Foliennummernplatzhalter 3">
            <a:extLst>
              <a:ext uri="{FF2B5EF4-FFF2-40B4-BE49-F238E27FC236}">
                <a16:creationId xmlns:a16="http://schemas.microsoft.com/office/drawing/2014/main" id="{FAE80E2B-6335-042B-8811-2C238FC40CA5}"/>
              </a:ext>
            </a:extLst>
          </p:cNvPr>
          <p:cNvSpPr>
            <a:spLocks noGrp="1"/>
          </p:cNvSpPr>
          <p:nvPr>
            <p:ph type="sldNum" sz="quarter" idx="12"/>
          </p:nvPr>
        </p:nvSpPr>
        <p:spPr>
          <a:xfrm>
            <a:off x="11162839" y="6489892"/>
            <a:ext cx="627951" cy="365125"/>
          </a:xfrm>
        </p:spPr>
        <p:txBody>
          <a:bodyPr/>
          <a:lstStyle/>
          <a:p>
            <a:pPr>
              <a:defRPr/>
            </a:pPr>
            <a:fld id="{6ABB0DC6-0311-9D4C-8333-A8862636E7AD}" type="slidenum">
              <a:rPr lang="en-GB" sz="900">
                <a:solidFill>
                  <a:prstClr val="black">
                    <a:tint val="75000"/>
                  </a:prstClr>
                </a:solidFill>
                <a:latin typeface="Calibri" panose="020F0502020204030204"/>
              </a:rPr>
              <a:pPr>
                <a:defRPr/>
              </a:pPr>
              <a:t>15</a:t>
            </a:fld>
            <a:endParaRPr lang="en-GB" sz="900">
              <a:solidFill>
                <a:prstClr val="black">
                  <a:tint val="75000"/>
                </a:prstClr>
              </a:solidFill>
              <a:latin typeface="Calibri" panose="020F0502020204030204"/>
            </a:endParaRPr>
          </a:p>
        </p:txBody>
      </p:sp>
      <p:pic>
        <p:nvPicPr>
          <p:cNvPr id="5" name="Picture 4">
            <a:extLst>
              <a:ext uri="{FF2B5EF4-FFF2-40B4-BE49-F238E27FC236}">
                <a16:creationId xmlns:a16="http://schemas.microsoft.com/office/drawing/2014/main" id="{E2CA5702-BF1A-537E-ADCB-3CA1F6B8D09A}"/>
              </a:ext>
            </a:extLst>
          </p:cNvPr>
          <p:cNvPicPr>
            <a:picLocks noChangeAspect="1"/>
          </p:cNvPicPr>
          <p:nvPr/>
        </p:nvPicPr>
        <p:blipFill>
          <a:blip r:embed="rId6"/>
          <a:stretch>
            <a:fillRect/>
          </a:stretch>
        </p:blipFill>
        <p:spPr>
          <a:xfrm>
            <a:off x="8847124" y="1988251"/>
            <a:ext cx="3348558" cy="4584067"/>
          </a:xfrm>
          <a:prstGeom prst="rect">
            <a:avLst/>
          </a:prstGeom>
        </p:spPr>
      </p:pic>
    </p:spTree>
    <p:extLst>
      <p:ext uri="{BB962C8B-B14F-4D97-AF65-F5344CB8AC3E}">
        <p14:creationId xmlns:p14="http://schemas.microsoft.com/office/powerpoint/2010/main" val="26253455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2F78DE-04C8-4FEE-BF74-035AE9398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4" name="think-cell data - do not delete" hidden="1">
                        <a:extLst>
                          <a:ext uri="{FF2B5EF4-FFF2-40B4-BE49-F238E27FC236}">
                            <a16:creationId xmlns:a16="http://schemas.microsoft.com/office/drawing/2014/main" id="{B42F78DE-04C8-4FEE-BF74-035AE9398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FE635721-341F-3EED-80EB-690C7FC9033D}"/>
              </a:ext>
            </a:extLst>
          </p:cNvPr>
          <p:cNvSpPr>
            <a:spLocks noGrp="1"/>
          </p:cNvSpPr>
          <p:nvPr>
            <p:ph type="title"/>
          </p:nvPr>
        </p:nvSpPr>
        <p:spPr>
          <a:xfrm>
            <a:off x="1208132" y="983465"/>
            <a:ext cx="10303819" cy="722820"/>
          </a:xfrm>
        </p:spPr>
        <p:txBody>
          <a:bodyPr vert="horz" lIns="91440" tIns="45720" rIns="91440" bIns="45720" anchor="t">
            <a:noAutofit/>
          </a:bodyPr>
          <a:lstStyle/>
          <a:p>
            <a:r>
              <a:rPr lang="en-GB" sz="2800" b="1"/>
              <a:t>From preliminary operational procedures to a rulebook (2/2)</a:t>
            </a:r>
            <a:endParaRPr lang="en-US" sz="2800" b="1"/>
          </a:p>
        </p:txBody>
      </p:sp>
      <p:sp>
        <p:nvSpPr>
          <p:cNvPr id="3" name="Textplatzhalter 2">
            <a:extLst>
              <a:ext uri="{FF2B5EF4-FFF2-40B4-BE49-F238E27FC236}">
                <a16:creationId xmlns:a16="http://schemas.microsoft.com/office/drawing/2014/main" id="{C8725CFE-6998-B7BB-50FC-88A63DF838C5}"/>
              </a:ext>
            </a:extLst>
          </p:cNvPr>
          <p:cNvSpPr txBox="1">
            <a:spLocks/>
          </p:cNvSpPr>
          <p:nvPr/>
        </p:nvSpPr>
        <p:spPr>
          <a:xfrm>
            <a:off x="801385" y="1828974"/>
            <a:ext cx="11128947" cy="4847872"/>
          </a:xfrm>
        </p:spPr>
        <p:txBody>
          <a:bodyPr lIns="91440" tIns="45720" rIns="91440" bIns="45720" anchor="t"/>
          <a:lstStyle>
            <a:defPPr>
              <a:defRPr lang="fr-FR"/>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spcAft>
                <a:spcPts val="600"/>
              </a:spcAft>
            </a:pPr>
            <a:r>
              <a:rPr lang="en-US" b="1">
                <a:latin typeface="Arial"/>
                <a:cs typeface="Arial"/>
              </a:rPr>
              <a:t>Last agreement on Rule Book Design : </a:t>
            </a:r>
          </a:p>
          <a:p>
            <a:pPr marL="342900" indent="-342900">
              <a:spcAft>
                <a:spcPts val="600"/>
              </a:spcAft>
              <a:buFont typeface="Arial" panose="020B0604020202020204" pitchFamily="34" charset="0"/>
              <a:buChar char="•"/>
            </a:pPr>
            <a:r>
              <a:rPr lang="en-US">
                <a:latin typeface="Arial"/>
                <a:cs typeface="Arial"/>
              </a:rPr>
              <a:t>Must be based on D2.1 but also next/other IP5 documents (i.e. D2.2, etc. ) and does not question the content</a:t>
            </a:r>
          </a:p>
          <a:p>
            <a:pPr marL="342900" indent="-342900">
              <a:spcAft>
                <a:spcPts val="600"/>
              </a:spcAft>
              <a:buFont typeface="Arial" panose="020B0604020202020204" pitchFamily="34" charset="0"/>
              <a:buChar char="•"/>
            </a:pPr>
            <a:r>
              <a:rPr lang="en-US">
                <a:latin typeface="Arial"/>
                <a:cs typeface="Arial"/>
              </a:rPr>
              <a:t>For the objective of pre-deployment trains, it will be based as first target on “EP” ERJU Processes (i.e. with no FDFT backend yet available)</a:t>
            </a:r>
          </a:p>
          <a:p>
            <a:pPr marL="342900" indent="-342900">
              <a:spcAft>
                <a:spcPts val="600"/>
              </a:spcAft>
              <a:buFont typeface="Arial" panose="020B0604020202020204" pitchFamily="34" charset="0"/>
              <a:buChar char="•"/>
            </a:pPr>
            <a:r>
              <a:rPr lang="en-US">
                <a:latin typeface="Arial"/>
                <a:cs typeface="Arial"/>
              </a:rPr>
              <a:t>In a further iteration, it will take into consideration the interaction with the FDFT System described in the “TP” Target Processes</a:t>
            </a:r>
          </a:p>
          <a:p>
            <a:pPr marL="342900" indent="-342900">
              <a:spcAft>
                <a:spcPts val="600"/>
              </a:spcAft>
              <a:buFont typeface="Arial" panose="020B0604020202020204" pitchFamily="34" charset="0"/>
              <a:buChar char="•"/>
            </a:pPr>
            <a:r>
              <a:rPr lang="en-US">
                <a:latin typeface="Arial"/>
                <a:cs typeface="Arial"/>
              </a:rPr>
              <a:t>It doesn’t describe at first stage all technical details, unless available (</a:t>
            </a:r>
            <a:r>
              <a:rPr lang="en-US" err="1">
                <a:latin typeface="Arial"/>
                <a:cs typeface="Arial"/>
              </a:rPr>
              <a:t>i.e.or</a:t>
            </a:r>
            <a:r>
              <a:rPr lang="en-US">
                <a:latin typeface="Arial"/>
                <a:cs typeface="Arial"/>
              </a:rPr>
              <a:t> push a button or to pull a lever)</a:t>
            </a:r>
          </a:p>
          <a:p>
            <a:pPr marL="342900" indent="-342900">
              <a:spcAft>
                <a:spcPts val="600"/>
              </a:spcAft>
              <a:buFont typeface="Arial" panose="020B0604020202020204" pitchFamily="34" charset="0"/>
              <a:buChar char="•"/>
            </a:pPr>
            <a:r>
              <a:rPr lang="en-US">
                <a:latin typeface="Arial"/>
                <a:cs typeface="Arial"/>
              </a:rPr>
              <a:t>It must describe Processes in a way that National Rules will no longer be necessary (nor allowed), and that the contents will be harmonized for all users and operators (Yard Manager, Shunting Operators, etc.)  , still allowing adaptations due to geographical/local  different organizational structures</a:t>
            </a:r>
          </a:p>
          <a:p>
            <a:pPr marL="342900" indent="-342900">
              <a:spcAft>
                <a:spcPts val="600"/>
              </a:spcAft>
              <a:buFont typeface="Arial" panose="020B0604020202020204" pitchFamily="34" charset="0"/>
              <a:buChar char="•"/>
            </a:pPr>
            <a:r>
              <a:rPr lang="en-US">
                <a:latin typeface="Arial"/>
                <a:cs typeface="Arial"/>
              </a:rPr>
              <a:t>The format will be aligned with Task 2 and finally agreed with ERA</a:t>
            </a:r>
          </a:p>
        </p:txBody>
      </p:sp>
      <p:sp>
        <p:nvSpPr>
          <p:cNvPr id="2" name="Foliennummernplatzhalter 3">
            <a:extLst>
              <a:ext uri="{FF2B5EF4-FFF2-40B4-BE49-F238E27FC236}">
                <a16:creationId xmlns:a16="http://schemas.microsoft.com/office/drawing/2014/main" id="{A46B0EA1-F47B-1141-8488-E5B5A0DBB3CD}"/>
              </a:ext>
            </a:extLst>
          </p:cNvPr>
          <p:cNvSpPr>
            <a:spLocks noGrp="1"/>
          </p:cNvSpPr>
          <p:nvPr>
            <p:ph type="sldNum" sz="quarter" idx="12"/>
          </p:nvPr>
        </p:nvSpPr>
        <p:spPr>
          <a:xfrm>
            <a:off x="11162839" y="6489892"/>
            <a:ext cx="627951" cy="365125"/>
          </a:xfrm>
        </p:spPr>
        <p:txBody>
          <a:bodyPr/>
          <a:lstStyle/>
          <a:p>
            <a:pPr>
              <a:defRPr/>
            </a:pPr>
            <a:fld id="{6ABB0DC6-0311-9D4C-8333-A8862636E7AD}" type="slidenum">
              <a:rPr lang="en-GB" sz="900">
                <a:solidFill>
                  <a:prstClr val="black">
                    <a:tint val="75000"/>
                  </a:prstClr>
                </a:solidFill>
                <a:latin typeface="Calibri" panose="020F0502020204030204"/>
              </a:rPr>
              <a:pPr>
                <a:defRPr/>
              </a:pPr>
              <a:t>16</a:t>
            </a:fld>
            <a:endParaRPr lang="en-GB" sz="900">
              <a:solidFill>
                <a:prstClr val="black">
                  <a:tint val="75000"/>
                </a:prstClr>
              </a:solidFill>
              <a:latin typeface="Calibri" panose="020F0502020204030204"/>
            </a:endParaRPr>
          </a:p>
        </p:txBody>
      </p:sp>
    </p:spTree>
    <p:extLst>
      <p:ext uri="{BB962C8B-B14F-4D97-AF65-F5344CB8AC3E}">
        <p14:creationId xmlns:p14="http://schemas.microsoft.com/office/powerpoint/2010/main" val="1204397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2F78DE-04C8-4FEE-BF74-035AE9398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B42F78DE-04C8-4FEE-BF74-035AE9398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FE635721-341F-3EED-80EB-690C7FC9033D}"/>
              </a:ext>
            </a:extLst>
          </p:cNvPr>
          <p:cNvSpPr>
            <a:spLocks noGrp="1"/>
          </p:cNvSpPr>
          <p:nvPr>
            <p:ph type="title"/>
          </p:nvPr>
        </p:nvSpPr>
        <p:spPr>
          <a:xfrm>
            <a:off x="1888181" y="587606"/>
            <a:ext cx="10303819" cy="722820"/>
          </a:xfrm>
        </p:spPr>
        <p:txBody>
          <a:bodyPr vert="horz" lIns="91440" tIns="45720" rIns="91440" bIns="45720" anchor="t">
            <a:noAutofit/>
          </a:bodyPr>
          <a:lstStyle/>
          <a:p>
            <a:r>
              <a:rPr lang="en-GB" sz="2800" b="1" noProof="0"/>
              <a:t>Two examples of a DAC rulebook</a:t>
            </a:r>
          </a:p>
        </p:txBody>
      </p:sp>
      <p:sp>
        <p:nvSpPr>
          <p:cNvPr id="24" name="TextBox 23">
            <a:extLst>
              <a:ext uri="{FF2B5EF4-FFF2-40B4-BE49-F238E27FC236}">
                <a16:creationId xmlns:a16="http://schemas.microsoft.com/office/drawing/2014/main" id="{B329A488-DAA8-0301-9048-2D09C84323CC}"/>
              </a:ext>
            </a:extLst>
          </p:cNvPr>
          <p:cNvSpPr txBox="1"/>
          <p:nvPr/>
        </p:nvSpPr>
        <p:spPr>
          <a:xfrm>
            <a:off x="944090" y="1113321"/>
            <a:ext cx="10303819" cy="394210"/>
          </a:xfrm>
          <a:prstGeom prst="rect">
            <a:avLst/>
          </a:prstGeom>
          <a:noFill/>
        </p:spPr>
        <p:txBody>
          <a:bodyPr wrap="square">
            <a:spAutoFit/>
          </a:bodyPr>
          <a:lstStyle/>
          <a:p>
            <a:pPr algn="just">
              <a:lnSpc>
                <a:spcPct val="120000"/>
              </a:lnSpc>
              <a:spcBef>
                <a:spcPts val="600"/>
              </a:spcBef>
              <a:spcAft>
                <a:spcPts val="600"/>
              </a:spcAft>
            </a:pPr>
            <a:r>
              <a:rPr lang="it-IT" b="1">
                <a:ea typeface="SimSun" panose="02010600030101010101" pitchFamily="2" charset="-122"/>
                <a:cs typeface="Times New Roman" panose="02020603050405020304" pitchFamily="18" charset="0"/>
              </a:rPr>
              <a:t>2 examples of Harmonized Operational Rules – general criterias</a:t>
            </a:r>
            <a:endParaRPr lang="en-GB" b="1">
              <a:ea typeface="SimSun" panose="02010600030101010101" pitchFamily="2" charset="-122"/>
              <a:cs typeface="Times New Roman" panose="02020603050405020304" pitchFamily="18" charset="0"/>
            </a:endParaRPr>
          </a:p>
        </p:txBody>
      </p:sp>
      <p:sp>
        <p:nvSpPr>
          <p:cNvPr id="37" name="TextBox 36">
            <a:extLst>
              <a:ext uri="{FF2B5EF4-FFF2-40B4-BE49-F238E27FC236}">
                <a16:creationId xmlns:a16="http://schemas.microsoft.com/office/drawing/2014/main" id="{BC120820-8D1C-B397-6BAC-F3DC34B82F8A}"/>
              </a:ext>
            </a:extLst>
          </p:cNvPr>
          <p:cNvSpPr txBox="1"/>
          <p:nvPr/>
        </p:nvSpPr>
        <p:spPr>
          <a:xfrm>
            <a:off x="5057241" y="2361091"/>
            <a:ext cx="2597962" cy="2728055"/>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nSpc>
                <a:spcPct val="120000"/>
              </a:lnSpc>
              <a:spcBef>
                <a:spcPts val="600"/>
              </a:spcBef>
              <a:spcAft>
                <a:spcPts val="600"/>
              </a:spcAft>
            </a:pPr>
            <a:r>
              <a:rPr lang="it-IT">
                <a:ea typeface="SimSun" panose="02010600030101010101" pitchFamily="2" charset="-122"/>
                <a:cs typeface="Times New Roman" panose="02020603050405020304" pitchFamily="18" charset="0"/>
              </a:rPr>
              <a:t>In both cases, considering that the content of D2.1 has already been validated, the processes are not re-evaluated nor re-discussed</a:t>
            </a:r>
          </a:p>
        </p:txBody>
      </p:sp>
      <p:pic>
        <p:nvPicPr>
          <p:cNvPr id="41" name="Picture 40">
            <a:extLst>
              <a:ext uri="{FF2B5EF4-FFF2-40B4-BE49-F238E27FC236}">
                <a16:creationId xmlns:a16="http://schemas.microsoft.com/office/drawing/2014/main" id="{A16542B1-A64B-B271-8993-7E4CDE8012E5}"/>
              </a:ext>
            </a:extLst>
          </p:cNvPr>
          <p:cNvPicPr>
            <a:picLocks noChangeAspect="1"/>
          </p:cNvPicPr>
          <p:nvPr/>
        </p:nvPicPr>
        <p:blipFill>
          <a:blip r:embed="rId6"/>
          <a:stretch>
            <a:fillRect/>
          </a:stretch>
        </p:blipFill>
        <p:spPr>
          <a:xfrm>
            <a:off x="7792007" y="1546745"/>
            <a:ext cx="4249508" cy="46879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2" name="Picture 41">
            <a:extLst>
              <a:ext uri="{FF2B5EF4-FFF2-40B4-BE49-F238E27FC236}">
                <a16:creationId xmlns:a16="http://schemas.microsoft.com/office/drawing/2014/main" id="{D465AC43-BF83-B4FB-4014-0550A2B5F534}"/>
              </a:ext>
            </a:extLst>
          </p:cNvPr>
          <p:cNvPicPr>
            <a:picLocks noChangeAspect="1"/>
          </p:cNvPicPr>
          <p:nvPr/>
        </p:nvPicPr>
        <p:blipFill>
          <a:blip r:embed="rId7"/>
          <a:stretch>
            <a:fillRect/>
          </a:stretch>
        </p:blipFill>
        <p:spPr>
          <a:xfrm>
            <a:off x="637669" y="1540789"/>
            <a:ext cx="4282768" cy="502185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Foliennummernplatzhalter 3">
            <a:extLst>
              <a:ext uri="{FF2B5EF4-FFF2-40B4-BE49-F238E27FC236}">
                <a16:creationId xmlns:a16="http://schemas.microsoft.com/office/drawing/2014/main" id="{E5F2C362-5037-D1B8-4323-7954C800E0CB}"/>
              </a:ext>
            </a:extLst>
          </p:cNvPr>
          <p:cNvSpPr>
            <a:spLocks noGrp="1"/>
          </p:cNvSpPr>
          <p:nvPr>
            <p:ph type="sldNum" sz="quarter" idx="12"/>
          </p:nvPr>
        </p:nvSpPr>
        <p:spPr>
          <a:xfrm>
            <a:off x="11162839" y="6489892"/>
            <a:ext cx="627951" cy="365125"/>
          </a:xfrm>
        </p:spPr>
        <p:txBody>
          <a:bodyPr/>
          <a:lstStyle/>
          <a:p>
            <a:pPr>
              <a:defRPr/>
            </a:pPr>
            <a:fld id="{6ABB0DC6-0311-9D4C-8333-A8862636E7AD}" type="slidenum">
              <a:rPr lang="en-GB" sz="900">
                <a:solidFill>
                  <a:prstClr val="black">
                    <a:tint val="75000"/>
                  </a:prstClr>
                </a:solidFill>
                <a:latin typeface="Calibri" panose="020F0502020204030204"/>
              </a:rPr>
              <a:pPr>
                <a:defRPr/>
              </a:pPr>
              <a:t>17</a:t>
            </a:fld>
            <a:endParaRPr lang="en-GB" sz="900">
              <a:solidFill>
                <a:prstClr val="black">
                  <a:tint val="75000"/>
                </a:prstClr>
              </a:solidFill>
              <a:latin typeface="Calibri" panose="020F0502020204030204"/>
            </a:endParaRPr>
          </a:p>
        </p:txBody>
      </p:sp>
    </p:spTree>
    <p:extLst>
      <p:ext uri="{BB962C8B-B14F-4D97-AF65-F5344CB8AC3E}">
        <p14:creationId xmlns:p14="http://schemas.microsoft.com/office/powerpoint/2010/main" val="8143855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2F78DE-04C8-4FEE-BF74-035AE9398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B42F78DE-04C8-4FEE-BF74-035AE9398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FE635721-341F-3EED-80EB-690C7FC9033D}"/>
              </a:ext>
            </a:extLst>
          </p:cNvPr>
          <p:cNvSpPr>
            <a:spLocks noGrp="1"/>
          </p:cNvSpPr>
          <p:nvPr>
            <p:ph type="title"/>
          </p:nvPr>
        </p:nvSpPr>
        <p:spPr>
          <a:xfrm>
            <a:off x="1888181" y="587606"/>
            <a:ext cx="9567219" cy="436861"/>
          </a:xfrm>
        </p:spPr>
        <p:txBody>
          <a:bodyPr vert="horz" lIns="91440" tIns="45720" rIns="91440" bIns="45720" anchor="t">
            <a:noAutofit/>
          </a:bodyPr>
          <a:lstStyle/>
          <a:p>
            <a:r>
              <a:rPr lang="en-GB" sz="2800" b="1" noProof="0"/>
              <a:t>Two examples of a DAC rulebook (</a:t>
            </a:r>
            <a:r>
              <a:rPr lang="en-GB" sz="2800" b="1"/>
              <a:t>2/2)</a:t>
            </a:r>
            <a:endParaRPr lang="en-GB" sz="2800" b="1" noProof="0"/>
          </a:p>
        </p:txBody>
      </p:sp>
      <p:sp>
        <p:nvSpPr>
          <p:cNvPr id="24" name="TextBox 23">
            <a:extLst>
              <a:ext uri="{FF2B5EF4-FFF2-40B4-BE49-F238E27FC236}">
                <a16:creationId xmlns:a16="http://schemas.microsoft.com/office/drawing/2014/main" id="{B329A488-DAA8-0301-9048-2D09C84323CC}"/>
              </a:ext>
            </a:extLst>
          </p:cNvPr>
          <p:cNvSpPr txBox="1"/>
          <p:nvPr/>
        </p:nvSpPr>
        <p:spPr>
          <a:xfrm>
            <a:off x="944090" y="1364933"/>
            <a:ext cx="10303819" cy="3293466"/>
          </a:xfrm>
          <a:prstGeom prst="rect">
            <a:avLst/>
          </a:prstGeom>
          <a:noFill/>
        </p:spPr>
        <p:txBody>
          <a:bodyPr wrap="square" lIns="91440" tIns="45720" rIns="91440" bIns="45720" anchor="t">
            <a:spAutoFit/>
          </a:bodyPr>
          <a:lstStyle/>
          <a:p>
            <a:pPr algn="just">
              <a:lnSpc>
                <a:spcPct val="120000"/>
              </a:lnSpc>
              <a:spcBef>
                <a:spcPts val="600"/>
              </a:spcBef>
              <a:spcAft>
                <a:spcPts val="600"/>
              </a:spcAft>
            </a:pPr>
            <a:r>
              <a:rPr lang="en-GB" sz="2400" b="1">
                <a:ea typeface="SimSun"/>
                <a:cs typeface="Times New Roman"/>
              </a:rPr>
              <a:t>Testing a Content Management System (CMS)</a:t>
            </a:r>
            <a:endParaRPr lang="en-GB" sz="2400" b="1">
              <a:ea typeface="SimSun" panose="02010600030101010101" pitchFamily="2" charset="-122"/>
              <a:cs typeface="Times New Roman" panose="02020603050405020304" pitchFamily="18" charset="0"/>
            </a:endParaRPr>
          </a:p>
          <a:p>
            <a:pPr algn="just">
              <a:lnSpc>
                <a:spcPct val="120000"/>
              </a:lnSpc>
              <a:spcBef>
                <a:spcPts val="600"/>
              </a:spcBef>
              <a:spcAft>
                <a:spcPts val="600"/>
              </a:spcAft>
            </a:pPr>
            <a:r>
              <a:rPr lang="en-GB">
                <a:ea typeface="SimSun"/>
                <a:cs typeface="Times New Roman"/>
              </a:rPr>
              <a:t>By using a </a:t>
            </a:r>
            <a:r>
              <a:rPr lang="en-GB" b="1">
                <a:ea typeface="SimSun"/>
                <a:cs typeface="Times New Roman"/>
              </a:rPr>
              <a:t>Content Management System (CMS)</a:t>
            </a:r>
            <a:r>
              <a:rPr lang="en-GB">
                <a:ea typeface="SimSun"/>
                <a:cs typeface="Times New Roman"/>
              </a:rPr>
              <a:t> it is be possible to manage both option (flowchart and textual), thus allowing the users of DAC/FDFT to choose the format they prefer for the rulebook: textual, flowchart, or both.</a:t>
            </a:r>
          </a:p>
          <a:p>
            <a:pPr algn="just">
              <a:lnSpc>
                <a:spcPct val="120000"/>
              </a:lnSpc>
              <a:spcBef>
                <a:spcPts val="600"/>
              </a:spcBef>
              <a:spcAft>
                <a:spcPts val="600"/>
              </a:spcAft>
            </a:pPr>
            <a:r>
              <a:rPr lang="en-GB">
                <a:ea typeface="SimSun"/>
                <a:cs typeface="Times New Roman"/>
              </a:rPr>
              <a:t>It is important to remark that the Operational Rules will have the same holistic approach of D2.1 and will thus be elaborated for all FDFTO actors.</a:t>
            </a:r>
          </a:p>
          <a:p>
            <a:pPr algn="just">
              <a:lnSpc>
                <a:spcPct val="120000"/>
              </a:lnSpc>
              <a:spcBef>
                <a:spcPts val="600"/>
              </a:spcBef>
              <a:spcAft>
                <a:spcPts val="600"/>
              </a:spcAft>
            </a:pPr>
            <a:r>
              <a:rPr lang="en-GB">
                <a:ea typeface="SimSun"/>
                <a:cs typeface="Times New Roman"/>
              </a:rPr>
              <a:t>The CMS will in any case allow the final users to distribute to specific roles only the rules that are applicable to them. It is also about readiness of digitalisation of Rule Book.</a:t>
            </a:r>
            <a:endParaRPr lang="en-GB" sz="1800">
              <a:effectLst/>
              <a:latin typeface="Arial" panose="020B0604020202020204" pitchFamily="34" charset="0"/>
              <a:ea typeface="SimSun"/>
              <a:cs typeface="Times New Roman"/>
            </a:endParaRPr>
          </a:p>
        </p:txBody>
      </p:sp>
      <p:sp>
        <p:nvSpPr>
          <p:cNvPr id="3" name="Foliennummernplatzhalter 3">
            <a:extLst>
              <a:ext uri="{FF2B5EF4-FFF2-40B4-BE49-F238E27FC236}">
                <a16:creationId xmlns:a16="http://schemas.microsoft.com/office/drawing/2014/main" id="{02E146F7-8434-AAFA-E5C5-33A6377647CF}"/>
              </a:ext>
            </a:extLst>
          </p:cNvPr>
          <p:cNvSpPr>
            <a:spLocks noGrp="1"/>
          </p:cNvSpPr>
          <p:nvPr>
            <p:ph type="sldNum" sz="quarter" idx="12"/>
          </p:nvPr>
        </p:nvSpPr>
        <p:spPr>
          <a:xfrm>
            <a:off x="11162839" y="6489892"/>
            <a:ext cx="627951" cy="365125"/>
          </a:xfrm>
        </p:spPr>
        <p:txBody>
          <a:bodyPr/>
          <a:lstStyle/>
          <a:p>
            <a:pPr>
              <a:defRPr/>
            </a:pPr>
            <a:fld id="{6ABB0DC6-0311-9D4C-8333-A8862636E7AD}" type="slidenum">
              <a:rPr lang="en-GB" sz="900">
                <a:solidFill>
                  <a:prstClr val="black">
                    <a:tint val="75000"/>
                  </a:prstClr>
                </a:solidFill>
                <a:latin typeface="Calibri" panose="020F0502020204030204"/>
              </a:rPr>
              <a:pPr>
                <a:defRPr/>
              </a:pPr>
              <a:t>18</a:t>
            </a:fld>
            <a:endParaRPr lang="en-GB" sz="900">
              <a:solidFill>
                <a:prstClr val="black">
                  <a:tint val="75000"/>
                </a:prstClr>
              </a:solidFill>
              <a:latin typeface="Calibri" panose="020F0502020204030204"/>
            </a:endParaRPr>
          </a:p>
        </p:txBody>
      </p:sp>
    </p:spTree>
    <p:extLst>
      <p:ext uri="{BB962C8B-B14F-4D97-AF65-F5344CB8AC3E}">
        <p14:creationId xmlns:p14="http://schemas.microsoft.com/office/powerpoint/2010/main" val="6179132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2F78DE-04C8-4FEE-BF74-035AE9398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B42F78DE-04C8-4FEE-BF74-035AE9398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TextBox 23">
            <a:extLst>
              <a:ext uri="{FF2B5EF4-FFF2-40B4-BE49-F238E27FC236}">
                <a16:creationId xmlns:a16="http://schemas.microsoft.com/office/drawing/2014/main" id="{B329A488-DAA8-0301-9048-2D09C84323CC}"/>
              </a:ext>
            </a:extLst>
          </p:cNvPr>
          <p:cNvSpPr txBox="1"/>
          <p:nvPr/>
        </p:nvSpPr>
        <p:spPr>
          <a:xfrm>
            <a:off x="1169406" y="1347510"/>
            <a:ext cx="10303819" cy="4161396"/>
          </a:xfrm>
          <a:prstGeom prst="rect">
            <a:avLst/>
          </a:prstGeom>
          <a:noFill/>
        </p:spPr>
        <p:txBody>
          <a:bodyPr wrap="square" lIns="91440" tIns="45720" rIns="91440" bIns="45720" anchor="t">
            <a:spAutoFit/>
          </a:bodyPr>
          <a:lstStyle/>
          <a:p>
            <a:pPr algn="just">
              <a:lnSpc>
                <a:spcPct val="120000"/>
              </a:lnSpc>
              <a:spcBef>
                <a:spcPts val="600"/>
              </a:spcBef>
              <a:spcAft>
                <a:spcPts val="600"/>
              </a:spcAft>
            </a:pPr>
            <a:r>
              <a:rPr lang="en-GB" sz="3200" b="1">
                <a:ea typeface="SimSun"/>
                <a:cs typeface="Times New Roman"/>
              </a:rPr>
              <a:t>Harmonized Operational Rules:</a:t>
            </a:r>
          </a:p>
          <a:p>
            <a:pPr algn="just">
              <a:lnSpc>
                <a:spcPct val="120000"/>
              </a:lnSpc>
              <a:spcBef>
                <a:spcPts val="600"/>
              </a:spcBef>
              <a:spcAft>
                <a:spcPts val="600"/>
              </a:spcAft>
            </a:pPr>
            <a:r>
              <a:rPr lang="en-GB" sz="3200" b="1">
                <a:ea typeface="SimSun"/>
                <a:cs typeface="Times New Roman"/>
              </a:rPr>
              <a:t>Creating links between T2 and T4</a:t>
            </a:r>
          </a:p>
          <a:p>
            <a:pPr algn="just">
              <a:lnSpc>
                <a:spcPct val="120000"/>
              </a:lnSpc>
              <a:spcBef>
                <a:spcPts val="600"/>
              </a:spcBef>
              <a:spcAft>
                <a:spcPts val="600"/>
              </a:spcAft>
            </a:pPr>
            <a:r>
              <a:rPr lang="en-GB">
                <a:ea typeface="SimSun" panose="02010600030101010101" pitchFamily="2" charset="-122"/>
                <a:cs typeface="Arial"/>
              </a:rPr>
              <a:t>ERTMS and FDFTO scenarios are quite different, especially regarding the timeframe, but it’s possible to identify a common approach to similar topics</a:t>
            </a:r>
            <a:endParaRPr lang="en-US">
              <a:ea typeface="SimSun" panose="02010600030101010101" pitchFamily="2" charset="-122"/>
              <a:cs typeface="Arial"/>
            </a:endParaRPr>
          </a:p>
          <a:p>
            <a:pPr algn="just">
              <a:lnSpc>
                <a:spcPct val="120000"/>
              </a:lnSpc>
              <a:spcBef>
                <a:spcPts val="600"/>
              </a:spcBef>
              <a:spcAft>
                <a:spcPts val="600"/>
              </a:spcAft>
            </a:pPr>
            <a:r>
              <a:rPr lang="en-GB" b="1">
                <a:ea typeface="SimSun"/>
                <a:cs typeface="Arial"/>
              </a:rPr>
              <a:t>Three topics were discussed:</a:t>
            </a:r>
            <a:endParaRPr lang="en-US">
              <a:ea typeface="SimSun"/>
              <a:cs typeface="Arial"/>
            </a:endParaRPr>
          </a:p>
          <a:p>
            <a:pPr marL="285750" indent="-285750">
              <a:lnSpc>
                <a:spcPct val="120000"/>
              </a:lnSpc>
              <a:spcBef>
                <a:spcPts val="600"/>
              </a:spcBef>
              <a:spcAft>
                <a:spcPts val="600"/>
              </a:spcAft>
              <a:buFont typeface="Arial,Sans-Serif"/>
              <a:buChar char="•"/>
            </a:pPr>
            <a:r>
              <a:rPr lang="en-GB">
                <a:ea typeface="SimSun"/>
                <a:cs typeface="Arial"/>
              </a:rPr>
              <a:t>TSIs and Rulebook future developments</a:t>
            </a:r>
            <a:endParaRPr lang="en-US">
              <a:ea typeface="SimSun"/>
              <a:cs typeface="Arial"/>
            </a:endParaRPr>
          </a:p>
          <a:p>
            <a:pPr marL="285750" indent="-285750" algn="just">
              <a:lnSpc>
                <a:spcPct val="120000"/>
              </a:lnSpc>
              <a:spcBef>
                <a:spcPts val="600"/>
              </a:spcBef>
              <a:spcAft>
                <a:spcPts val="600"/>
              </a:spcAft>
              <a:buFont typeface="Arial,Sans-Serif"/>
              <a:buChar char="•"/>
            </a:pPr>
            <a:r>
              <a:rPr lang="en-GB">
                <a:ea typeface="SimSun"/>
                <a:cs typeface="Arial"/>
              </a:rPr>
              <a:t>Examples of Rulebooks, scenario-based, and flow-chart based.</a:t>
            </a:r>
            <a:endParaRPr lang="en-US">
              <a:ea typeface="SimSun"/>
              <a:cs typeface="Arial"/>
            </a:endParaRPr>
          </a:p>
          <a:p>
            <a:pPr marL="285750" indent="-285750" algn="just">
              <a:lnSpc>
                <a:spcPct val="120000"/>
              </a:lnSpc>
              <a:spcBef>
                <a:spcPts val="600"/>
              </a:spcBef>
              <a:spcAft>
                <a:spcPts val="600"/>
              </a:spcAft>
              <a:buFont typeface="Arial,Sans-Serif"/>
              <a:buChar char="•"/>
            </a:pPr>
            <a:r>
              <a:rPr lang="en-GB">
                <a:ea typeface="SimSun"/>
                <a:cs typeface="Arial"/>
              </a:rPr>
              <a:t>Relation between TSI and Rulebooks</a:t>
            </a:r>
            <a:endParaRPr lang="en-GB">
              <a:ea typeface="SimSun"/>
            </a:endParaRPr>
          </a:p>
        </p:txBody>
      </p:sp>
      <p:sp>
        <p:nvSpPr>
          <p:cNvPr id="3" name="Foliennummernplatzhalter 3">
            <a:extLst>
              <a:ext uri="{FF2B5EF4-FFF2-40B4-BE49-F238E27FC236}">
                <a16:creationId xmlns:a16="http://schemas.microsoft.com/office/drawing/2014/main" id="{DC77994D-E2DC-3B6C-91E7-84AB8C6D5E88}"/>
              </a:ext>
            </a:extLst>
          </p:cNvPr>
          <p:cNvSpPr>
            <a:spLocks noGrp="1"/>
          </p:cNvSpPr>
          <p:nvPr>
            <p:ph type="sldNum" sz="quarter" idx="12"/>
          </p:nvPr>
        </p:nvSpPr>
        <p:spPr>
          <a:xfrm>
            <a:off x="11162839" y="6489892"/>
            <a:ext cx="627951" cy="365125"/>
          </a:xfrm>
        </p:spPr>
        <p:txBody>
          <a:bodyPr/>
          <a:lstStyle/>
          <a:p>
            <a:pPr>
              <a:defRPr/>
            </a:pPr>
            <a:fld id="{6ABB0DC6-0311-9D4C-8333-A8862636E7AD}" type="slidenum">
              <a:rPr lang="en-GB" sz="900">
                <a:solidFill>
                  <a:prstClr val="black">
                    <a:tint val="75000"/>
                  </a:prstClr>
                </a:solidFill>
                <a:latin typeface="Calibri" panose="020F0502020204030204"/>
              </a:rPr>
              <a:pPr>
                <a:defRPr/>
              </a:pPr>
              <a:t>19</a:t>
            </a:fld>
            <a:endParaRPr lang="en-GB" sz="900">
              <a:solidFill>
                <a:prstClr val="black">
                  <a:tint val="75000"/>
                </a:prstClr>
              </a:solidFill>
              <a:latin typeface="Calibri" panose="020F0502020204030204"/>
            </a:endParaRPr>
          </a:p>
        </p:txBody>
      </p:sp>
    </p:spTree>
    <p:extLst>
      <p:ext uri="{BB962C8B-B14F-4D97-AF65-F5344CB8AC3E}">
        <p14:creationId xmlns:p14="http://schemas.microsoft.com/office/powerpoint/2010/main" val="14533105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pic>
        <p:nvPicPr>
          <p:cNvPr id="5" name="Picture 4" descr="Frédéric Hénon is appointed as Director of the UIC Freight ...">
            <a:extLst>
              <a:ext uri="{FF2B5EF4-FFF2-40B4-BE49-F238E27FC236}">
                <a16:creationId xmlns:a16="http://schemas.microsoft.com/office/drawing/2014/main" id="{ADDC566C-0CC0-0AD0-6539-8DB880257AB1}"/>
              </a:ext>
            </a:extLst>
          </p:cNvPr>
          <p:cNvPicPr>
            <a:picLocks noChangeAspect="1"/>
          </p:cNvPicPr>
          <p:nvPr/>
        </p:nvPicPr>
        <p:blipFill>
          <a:blip r:embed="rId5"/>
          <a:stretch>
            <a:fillRect/>
          </a:stretch>
        </p:blipFill>
        <p:spPr>
          <a:xfrm>
            <a:off x="4861098" y="1548245"/>
            <a:ext cx="1892530" cy="2052781"/>
          </a:xfrm>
          <a:prstGeom prst="rect">
            <a:avLst/>
          </a:prstGeom>
        </p:spPr>
      </p:pic>
      <p:pic>
        <p:nvPicPr>
          <p:cNvPr id="6" name="Picture 5" descr="A close-up of a person smiling&#10;&#10;Description automatically generated">
            <a:extLst>
              <a:ext uri="{FF2B5EF4-FFF2-40B4-BE49-F238E27FC236}">
                <a16:creationId xmlns:a16="http://schemas.microsoft.com/office/drawing/2014/main" id="{5A4CD4B1-C2ED-96DC-F82C-426713DFF7BF}"/>
              </a:ext>
            </a:extLst>
          </p:cNvPr>
          <p:cNvPicPr>
            <a:picLocks noChangeAspect="1"/>
          </p:cNvPicPr>
          <p:nvPr/>
        </p:nvPicPr>
        <p:blipFill>
          <a:blip r:embed="rId6"/>
          <a:stretch>
            <a:fillRect/>
          </a:stretch>
        </p:blipFill>
        <p:spPr>
          <a:xfrm>
            <a:off x="7764318" y="1552862"/>
            <a:ext cx="1893454" cy="2055091"/>
          </a:xfrm>
          <a:prstGeom prst="rect">
            <a:avLst/>
          </a:prstGeom>
        </p:spPr>
      </p:pic>
      <p:sp>
        <p:nvSpPr>
          <p:cNvPr id="11" name="TextBox 10">
            <a:extLst>
              <a:ext uri="{FF2B5EF4-FFF2-40B4-BE49-F238E27FC236}">
                <a16:creationId xmlns:a16="http://schemas.microsoft.com/office/drawing/2014/main" id="{24BCC039-DDBB-DF2D-C680-13B937BBD16B}"/>
              </a:ext>
            </a:extLst>
          </p:cNvPr>
          <p:cNvSpPr txBox="1"/>
          <p:nvPr/>
        </p:nvSpPr>
        <p:spPr>
          <a:xfrm>
            <a:off x="4779819" y="3960091"/>
            <a:ext cx="205509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000" b="1">
                <a:cs typeface="Arial"/>
              </a:rPr>
              <a:t>Frédéric Henon</a:t>
            </a:r>
          </a:p>
          <a:p>
            <a:r>
              <a:rPr lang="en-GB" sz="2000" b="1">
                <a:cs typeface="Arial"/>
              </a:rPr>
              <a:t>UIC</a:t>
            </a:r>
          </a:p>
        </p:txBody>
      </p:sp>
      <p:sp>
        <p:nvSpPr>
          <p:cNvPr id="12" name="TextBox 11">
            <a:extLst>
              <a:ext uri="{FF2B5EF4-FFF2-40B4-BE49-F238E27FC236}">
                <a16:creationId xmlns:a16="http://schemas.microsoft.com/office/drawing/2014/main" id="{A85CAD6C-F775-E81A-7BA4-6FCD4F5AEFCF}"/>
              </a:ext>
            </a:extLst>
          </p:cNvPr>
          <p:cNvSpPr txBox="1"/>
          <p:nvPr/>
        </p:nvSpPr>
        <p:spPr>
          <a:xfrm>
            <a:off x="7677726" y="3960090"/>
            <a:ext cx="2516909"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000" b="1">
                <a:cs typeface="Arial"/>
              </a:rPr>
              <a:t>Johannes Gräber</a:t>
            </a:r>
          </a:p>
          <a:p>
            <a:r>
              <a:rPr lang="en-GB" sz="2000" b="1">
                <a:cs typeface="Arial"/>
              </a:rPr>
              <a:t>Knorr-Bremse</a:t>
            </a:r>
          </a:p>
        </p:txBody>
      </p:sp>
      <p:sp>
        <p:nvSpPr>
          <p:cNvPr id="13" name="TextBox 12">
            <a:extLst>
              <a:ext uri="{FF2B5EF4-FFF2-40B4-BE49-F238E27FC236}">
                <a16:creationId xmlns:a16="http://schemas.microsoft.com/office/drawing/2014/main" id="{4B6B7A86-7F66-3773-26EC-4052F32DE96C}"/>
              </a:ext>
            </a:extLst>
          </p:cNvPr>
          <p:cNvSpPr txBox="1"/>
          <p:nvPr/>
        </p:nvSpPr>
        <p:spPr>
          <a:xfrm>
            <a:off x="1708727" y="3960090"/>
            <a:ext cx="279400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000" b="1">
                <a:cs typeface="Arial"/>
              </a:rPr>
              <a:t>Karel van Gils</a:t>
            </a:r>
          </a:p>
          <a:p>
            <a:r>
              <a:rPr lang="en-GB" sz="2000" b="1">
                <a:cs typeface="Arial"/>
              </a:rPr>
              <a:t>EU-RAIL</a:t>
            </a:r>
          </a:p>
        </p:txBody>
      </p:sp>
      <p:pic>
        <p:nvPicPr>
          <p:cNvPr id="2" name="Picture 1" descr="A person in a suit and tie&#10;&#10;Description automatically generated">
            <a:extLst>
              <a:ext uri="{FF2B5EF4-FFF2-40B4-BE49-F238E27FC236}">
                <a16:creationId xmlns:a16="http://schemas.microsoft.com/office/drawing/2014/main" id="{99375B6C-64A6-0ED9-3ECA-71815D83E9AD}"/>
              </a:ext>
            </a:extLst>
          </p:cNvPr>
          <p:cNvPicPr>
            <a:picLocks noChangeAspect="1"/>
          </p:cNvPicPr>
          <p:nvPr/>
        </p:nvPicPr>
        <p:blipFill>
          <a:blip r:embed="rId7"/>
          <a:stretch>
            <a:fillRect/>
          </a:stretch>
        </p:blipFill>
        <p:spPr>
          <a:xfrm>
            <a:off x="1794241" y="1556326"/>
            <a:ext cx="1884065" cy="2059710"/>
          </a:xfrm>
          <a:prstGeom prst="rect">
            <a:avLst/>
          </a:prstGeom>
        </p:spPr>
      </p:pic>
    </p:spTree>
    <p:extLst>
      <p:ext uri="{BB962C8B-B14F-4D97-AF65-F5344CB8AC3E}">
        <p14:creationId xmlns:p14="http://schemas.microsoft.com/office/powerpoint/2010/main" val="3228471271"/>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vak 4">
            <a:extLst>
              <a:ext uri="{FF2B5EF4-FFF2-40B4-BE49-F238E27FC236}">
                <a16:creationId xmlns:a16="http://schemas.microsoft.com/office/drawing/2014/main" id="{D273773A-2F6F-4434-8057-E5490AB4F4E1}"/>
              </a:ext>
            </a:extLst>
          </p:cNvPr>
          <p:cNvSpPr txBox="1"/>
          <p:nvPr/>
        </p:nvSpPr>
        <p:spPr>
          <a:xfrm>
            <a:off x="953848" y="2066652"/>
            <a:ext cx="5439681" cy="4429033"/>
          </a:xfrm>
          <a:prstGeom prst="rect">
            <a:avLst/>
          </a:prstGeom>
          <a:noFill/>
        </p:spPr>
        <p:txBody>
          <a:bodyPr wrap="square">
            <a:spAutoFit/>
          </a:bodyPr>
          <a:lstStyle/>
          <a:p>
            <a:pPr>
              <a:lnSpc>
                <a:spcPct val="107000"/>
              </a:lnSpc>
              <a:spcAft>
                <a:spcPts val="800"/>
              </a:spcAft>
            </a:pPr>
            <a:r>
              <a:rPr lang="en-GB" sz="1600" b="1">
                <a:solidFill>
                  <a:srgbClr val="000000"/>
                </a:solidFill>
                <a:effectLst/>
                <a:latin typeface="Calibri" panose="020F0502020204030204" pitchFamily="34" charset="0"/>
                <a:ea typeface="Calibri" panose="020F0502020204030204" pitchFamily="34" charset="0"/>
                <a:cs typeface="Arial" panose="020B0604020202020204" pitchFamily="34" charset="0"/>
              </a:rPr>
              <a:t>Scenario 101 perform Start of Mission</a:t>
            </a:r>
            <a:endParaRPr lang="en-GB" sz="16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600">
                <a:solidFill>
                  <a:srgbClr val="000000"/>
                </a:solidFill>
                <a:effectLst/>
                <a:latin typeface="Calibri" panose="020F0502020204030204" pitchFamily="34" charset="0"/>
                <a:ea typeface="Calibri" panose="020F0502020204030204" pitchFamily="34" charset="0"/>
                <a:cs typeface="Arial" panose="020B0604020202020204" pitchFamily="34" charset="0"/>
              </a:rPr>
              <a:t>You are the driver of a train, and you will have to perform a Start of Mission</a:t>
            </a:r>
            <a:endParaRPr lang="en-GB" sz="16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600">
                <a:solidFill>
                  <a:srgbClr val="000000"/>
                </a:solidFill>
                <a:effectLst/>
                <a:latin typeface="ArialMT"/>
                <a:ea typeface="Calibri" panose="020F0502020204030204" pitchFamily="34" charset="0"/>
                <a:cs typeface="ArialMT"/>
              </a:rPr>
              <a:t> </a:t>
            </a:r>
            <a:r>
              <a:rPr lang="en-GB" sz="1600">
                <a:solidFill>
                  <a:srgbClr val="000000"/>
                </a:solidFill>
                <a:effectLst/>
                <a:latin typeface="Calibri" panose="020F0502020204030204" pitchFamily="34" charset="0"/>
                <a:ea typeface="Calibri" panose="020F0502020204030204" pitchFamily="34" charset="0"/>
                <a:cs typeface="Arial" panose="020B0604020202020204" pitchFamily="34" charset="0"/>
              </a:rPr>
              <a:t>Enter the cab of the train</a:t>
            </a:r>
          </a:p>
          <a:p>
            <a:pPr marL="285750" indent="-285750">
              <a:lnSpc>
                <a:spcPct val="107000"/>
              </a:lnSpc>
              <a:spcAft>
                <a:spcPts val="800"/>
              </a:spcAft>
              <a:buFont typeface="Arial" panose="020B0604020202020204" pitchFamily="34" charset="0"/>
              <a:buChar char="•"/>
            </a:pPr>
            <a:r>
              <a:rPr lang="en-GB" sz="1600">
                <a:solidFill>
                  <a:srgbClr val="000000"/>
                </a:solidFill>
                <a:latin typeface="Calibri" panose="020F0502020204030204" pitchFamily="34" charset="0"/>
                <a:ea typeface="Calibri" panose="020F0502020204030204" pitchFamily="34" charset="0"/>
                <a:cs typeface="Arial" panose="020B0604020202020204" pitchFamily="34" charset="0"/>
              </a:rPr>
              <a:t>Open the cab by activating the power button / switch</a:t>
            </a:r>
          </a:p>
          <a:p>
            <a:pPr defTabSz="541338">
              <a:lnSpc>
                <a:spcPct val="107000"/>
              </a:lnSpc>
              <a:spcAft>
                <a:spcPts val="800"/>
              </a:spcAft>
            </a:pPr>
            <a:r>
              <a:rPr lang="en-GB" sz="1600">
                <a:solidFill>
                  <a:srgbClr val="000000"/>
                </a:solidFill>
                <a:effectLst/>
                <a:latin typeface="Calibri" panose="020F0502020204030204" pitchFamily="34" charset="0"/>
                <a:ea typeface="Calibri" panose="020F0502020204030204" pitchFamily="34" charset="0"/>
                <a:cs typeface="Arial" panose="020B0604020202020204" pitchFamily="34" charset="0"/>
              </a:rPr>
              <a:t>	- the automatic data entry is </a:t>
            </a:r>
            <a:r>
              <a:rPr lang="en-GB" sz="1600">
                <a:solidFill>
                  <a:srgbClr val="000000"/>
                </a:solidFill>
                <a:latin typeface="Calibri" panose="020F0502020204030204" pitchFamily="34" charset="0"/>
                <a:ea typeface="Calibri" panose="020F0502020204030204" pitchFamily="34" charset="0"/>
                <a:cs typeface="Arial" panose="020B0604020202020204" pitchFamily="34" charset="0"/>
              </a:rPr>
              <a:t>performed by the 		    system</a:t>
            </a:r>
          </a:p>
          <a:p>
            <a:pPr defTabSz="541338">
              <a:lnSpc>
                <a:spcPct val="107000"/>
              </a:lnSpc>
              <a:spcAft>
                <a:spcPts val="800"/>
              </a:spcAft>
            </a:pPr>
            <a:r>
              <a:rPr lang="en-GB" sz="1600">
                <a:solidFill>
                  <a:srgbClr val="000000"/>
                </a:solidFill>
                <a:latin typeface="Calibri" panose="020F0502020204030204" pitchFamily="34" charset="0"/>
                <a:ea typeface="Calibri" panose="020F0502020204030204" pitchFamily="34" charset="0"/>
                <a:cs typeface="Arial" panose="020B0604020202020204" pitchFamily="34" charset="0"/>
              </a:rPr>
              <a:t>	- all data is shown on de DMI in one overview</a:t>
            </a:r>
          </a:p>
          <a:p>
            <a:pPr marL="285750" indent="-285750">
              <a:lnSpc>
                <a:spcPct val="107000"/>
              </a:lnSpc>
              <a:spcAft>
                <a:spcPts val="800"/>
              </a:spcAft>
              <a:buFont typeface="Arial" panose="020B0604020202020204" pitchFamily="34" charset="0"/>
              <a:buChar char="•"/>
            </a:pPr>
            <a:r>
              <a:rPr lang="en-GB" sz="1600">
                <a:solidFill>
                  <a:srgbClr val="000000"/>
                </a:solidFill>
                <a:latin typeface="Calibri" panose="020F0502020204030204" pitchFamily="34" charset="0"/>
                <a:ea typeface="Calibri" panose="020F0502020204030204" pitchFamily="34" charset="0"/>
                <a:cs typeface="Arial" panose="020B0604020202020204" pitchFamily="34" charset="0"/>
              </a:rPr>
              <a:t>If all data are complete,  start button is available, press </a:t>
            </a:r>
            <a:r>
              <a:rPr lang="en-GB" sz="1600">
                <a:solidFill>
                  <a:srgbClr val="000000"/>
                </a:solidFill>
                <a:highlight>
                  <a:srgbClr val="FFFF00"/>
                </a:highlight>
                <a:latin typeface="Calibri" panose="020F0502020204030204" pitchFamily="34" charset="0"/>
                <a:ea typeface="Calibri" panose="020F0502020204030204" pitchFamily="34" charset="0"/>
                <a:cs typeface="Arial" panose="020B0604020202020204" pitchFamily="34" charset="0"/>
              </a:rPr>
              <a:t>start</a:t>
            </a:r>
          </a:p>
          <a:p>
            <a:pPr marL="285750" indent="-285750">
              <a:lnSpc>
                <a:spcPct val="107000"/>
              </a:lnSpc>
              <a:spcAft>
                <a:spcPts val="800"/>
              </a:spcAft>
              <a:buFont typeface="Arial" panose="020B0604020202020204" pitchFamily="34" charset="0"/>
              <a:buChar char="•"/>
            </a:pPr>
            <a:r>
              <a:rPr lang="en-GB" sz="1600">
                <a:solidFill>
                  <a:srgbClr val="000000"/>
                </a:solidFill>
                <a:latin typeface="Calibri" panose="020F0502020204030204" pitchFamily="34" charset="0"/>
                <a:ea typeface="Calibri" panose="020F0502020204030204" pitchFamily="34" charset="0"/>
                <a:cs typeface="Arial" panose="020B0604020202020204" pitchFamily="34" charset="0"/>
              </a:rPr>
              <a:t>If data is missing, press “main” on the DMI Menu, then “data entry”  and submit the missing data</a:t>
            </a:r>
          </a:p>
          <a:p>
            <a:pPr marL="285750" indent="-285750">
              <a:lnSpc>
                <a:spcPct val="107000"/>
              </a:lnSpc>
              <a:spcAft>
                <a:spcPts val="800"/>
              </a:spcAft>
              <a:buFont typeface="Arial" panose="020B0604020202020204" pitchFamily="34" charset="0"/>
              <a:buChar char="•"/>
            </a:pPr>
            <a:r>
              <a:rPr lang="en-GB" sz="1600">
                <a:solidFill>
                  <a:srgbClr val="000000"/>
                </a:solidFill>
                <a:latin typeface="Calibri" panose="020F0502020204030204" pitchFamily="34" charset="0"/>
                <a:ea typeface="Calibri" panose="020F0502020204030204" pitchFamily="34" charset="0"/>
                <a:cs typeface="Arial" panose="020B0604020202020204" pitchFamily="34" charset="0"/>
              </a:rPr>
              <a:t>If all data are complete, start button is available, press </a:t>
            </a:r>
            <a:r>
              <a:rPr lang="en-GB" sz="1600">
                <a:solidFill>
                  <a:srgbClr val="000000"/>
                </a:solidFill>
                <a:highlight>
                  <a:srgbClr val="FFFF00"/>
                </a:highlight>
                <a:latin typeface="Calibri" panose="020F0502020204030204" pitchFamily="34" charset="0"/>
                <a:ea typeface="Calibri" panose="020F0502020204030204" pitchFamily="34" charset="0"/>
                <a:cs typeface="Arial" panose="020B0604020202020204" pitchFamily="34" charset="0"/>
              </a:rPr>
              <a:t>start</a:t>
            </a:r>
          </a:p>
          <a:p>
            <a:pPr>
              <a:lnSpc>
                <a:spcPct val="107000"/>
              </a:lnSpc>
              <a:spcAft>
                <a:spcPts val="800"/>
              </a:spcAft>
            </a:pPr>
            <a:r>
              <a:rPr lang="en-GB" sz="1600" b="1">
                <a:solidFill>
                  <a:srgbClr val="000000"/>
                </a:solidFill>
                <a:latin typeface="Calibri" panose="020F0502020204030204" pitchFamily="34" charset="0"/>
                <a:ea typeface="Calibri" panose="020F0502020204030204" pitchFamily="34" charset="0"/>
                <a:cs typeface="Arial" panose="020B0604020202020204" pitchFamily="34" charset="0"/>
              </a:rPr>
              <a:t>Proceed with Scenario 102:  departure</a:t>
            </a:r>
            <a:endParaRPr lang="en-GB" sz="1600">
              <a:solidFill>
                <a:srgbClr val="000000"/>
              </a:solidFill>
              <a:latin typeface="Calibri" panose="020F0502020204030204" pitchFamily="34" charset="0"/>
              <a:ea typeface="Calibri" panose="020F0502020204030204" pitchFamily="34" charset="0"/>
              <a:cs typeface="Arial" panose="020B0604020202020204" pitchFamily="34" charset="0"/>
            </a:endParaRPr>
          </a:p>
        </p:txBody>
      </p:sp>
      <p:sp>
        <p:nvSpPr>
          <p:cNvPr id="3" name="Tekstvak 2">
            <a:extLst>
              <a:ext uri="{FF2B5EF4-FFF2-40B4-BE49-F238E27FC236}">
                <a16:creationId xmlns:a16="http://schemas.microsoft.com/office/drawing/2014/main" id="{EFDF0A51-66DE-4DC2-9289-C3C146CF3D9B}"/>
              </a:ext>
            </a:extLst>
          </p:cNvPr>
          <p:cNvSpPr txBox="1"/>
          <p:nvPr/>
        </p:nvSpPr>
        <p:spPr>
          <a:xfrm>
            <a:off x="2222981" y="1571420"/>
            <a:ext cx="2157575" cy="369332"/>
          </a:xfrm>
          <a:prstGeom prst="rect">
            <a:avLst/>
          </a:prstGeom>
          <a:noFill/>
        </p:spPr>
        <p:txBody>
          <a:bodyPr wrap="square" rtlCol="0">
            <a:spAutoFit/>
          </a:bodyPr>
          <a:lstStyle/>
          <a:p>
            <a:pPr algn="ctr"/>
            <a:r>
              <a:rPr lang="en-US" b="1">
                <a:solidFill>
                  <a:srgbClr val="0C1D3E"/>
                </a:solidFill>
                <a:ea typeface="Calibri" panose="020F0502020204030204" pitchFamily="34" charset="0"/>
                <a:cs typeface="Arial" panose="020B0604020202020204" pitchFamily="34" charset="0"/>
              </a:rPr>
              <a:t>Text based</a:t>
            </a:r>
          </a:p>
        </p:txBody>
      </p:sp>
      <p:sp>
        <p:nvSpPr>
          <p:cNvPr id="2" name="Tekstvak 1">
            <a:extLst>
              <a:ext uri="{FF2B5EF4-FFF2-40B4-BE49-F238E27FC236}">
                <a16:creationId xmlns:a16="http://schemas.microsoft.com/office/drawing/2014/main" id="{CA3010B9-FF1A-49FE-BD07-4518510F23EA}"/>
              </a:ext>
            </a:extLst>
          </p:cNvPr>
          <p:cNvSpPr txBox="1"/>
          <p:nvPr/>
        </p:nvSpPr>
        <p:spPr>
          <a:xfrm>
            <a:off x="9006314" y="1522973"/>
            <a:ext cx="2157575" cy="369332"/>
          </a:xfrm>
          <a:prstGeom prst="rect">
            <a:avLst/>
          </a:prstGeom>
          <a:noFill/>
        </p:spPr>
        <p:txBody>
          <a:bodyPr wrap="square" rtlCol="0">
            <a:spAutoFit/>
          </a:bodyPr>
          <a:lstStyle/>
          <a:p>
            <a:pPr algn="ctr"/>
            <a:r>
              <a:rPr lang="en-GB" b="1">
                <a:solidFill>
                  <a:srgbClr val="0C1D3E"/>
                </a:solidFill>
                <a:ea typeface="Calibri" panose="020F0502020204030204" pitchFamily="34" charset="0"/>
                <a:cs typeface="Arial" panose="020B0604020202020204" pitchFamily="34" charset="0"/>
              </a:rPr>
              <a:t>Flowchart based</a:t>
            </a:r>
          </a:p>
        </p:txBody>
      </p:sp>
      <p:sp>
        <p:nvSpPr>
          <p:cNvPr id="21" name="Rechthoek 20">
            <a:extLst>
              <a:ext uri="{FF2B5EF4-FFF2-40B4-BE49-F238E27FC236}">
                <a16:creationId xmlns:a16="http://schemas.microsoft.com/office/drawing/2014/main" id="{2959F00F-33A2-49A7-A3C1-C0FECEB24B5B}"/>
              </a:ext>
            </a:extLst>
          </p:cNvPr>
          <p:cNvSpPr/>
          <p:nvPr/>
        </p:nvSpPr>
        <p:spPr>
          <a:xfrm>
            <a:off x="5419805" y="1101982"/>
            <a:ext cx="1192055" cy="2876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SOM 101</a:t>
            </a:r>
          </a:p>
        </p:txBody>
      </p:sp>
      <p:grpSp>
        <p:nvGrpSpPr>
          <p:cNvPr id="4" name="Groep 4">
            <a:extLst>
              <a:ext uri="{FF2B5EF4-FFF2-40B4-BE49-F238E27FC236}">
                <a16:creationId xmlns:a16="http://schemas.microsoft.com/office/drawing/2014/main" id="{8B9DED1D-D071-47FF-9267-BA9E8757C04C}"/>
              </a:ext>
            </a:extLst>
          </p:cNvPr>
          <p:cNvGrpSpPr/>
          <p:nvPr/>
        </p:nvGrpSpPr>
        <p:grpSpPr>
          <a:xfrm>
            <a:off x="7169906" y="2132580"/>
            <a:ext cx="4927462" cy="4535634"/>
            <a:chOff x="2260314" y="432371"/>
            <a:chExt cx="4505218" cy="5993258"/>
          </a:xfrm>
        </p:grpSpPr>
        <p:sp>
          <p:nvSpPr>
            <p:cNvPr id="7" name="Stroomdiagram: Proces 2">
              <a:extLst>
                <a:ext uri="{FF2B5EF4-FFF2-40B4-BE49-F238E27FC236}">
                  <a16:creationId xmlns:a16="http://schemas.microsoft.com/office/drawing/2014/main" id="{05A21684-5AAA-4875-A151-B9B75D6E6427}"/>
                </a:ext>
              </a:extLst>
            </p:cNvPr>
            <p:cNvSpPr/>
            <p:nvPr/>
          </p:nvSpPr>
          <p:spPr>
            <a:xfrm>
              <a:off x="4798031" y="432371"/>
              <a:ext cx="1818526" cy="719191"/>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river enters cab</a:t>
              </a:r>
            </a:p>
          </p:txBody>
        </p:sp>
        <p:sp>
          <p:nvSpPr>
            <p:cNvPr id="8" name="Stroomdiagram: Proces 6">
              <a:extLst>
                <a:ext uri="{FF2B5EF4-FFF2-40B4-BE49-F238E27FC236}">
                  <a16:creationId xmlns:a16="http://schemas.microsoft.com/office/drawing/2014/main" id="{E5EED46E-F175-47A7-940A-01E0DD02466E}"/>
                </a:ext>
              </a:extLst>
            </p:cNvPr>
            <p:cNvSpPr/>
            <p:nvPr/>
          </p:nvSpPr>
          <p:spPr>
            <a:xfrm>
              <a:off x="4798031" y="1570235"/>
              <a:ext cx="1818526" cy="719191"/>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river opens cab</a:t>
              </a:r>
            </a:p>
          </p:txBody>
        </p:sp>
        <p:sp>
          <p:nvSpPr>
            <p:cNvPr id="9" name="Stroomdiagram: Proces 7">
              <a:extLst>
                <a:ext uri="{FF2B5EF4-FFF2-40B4-BE49-F238E27FC236}">
                  <a16:creationId xmlns:a16="http://schemas.microsoft.com/office/drawing/2014/main" id="{5E4858A7-E572-438D-8F47-DEDE6DF07882}"/>
                </a:ext>
              </a:extLst>
            </p:cNvPr>
            <p:cNvSpPr/>
            <p:nvPr/>
          </p:nvSpPr>
          <p:spPr>
            <a:xfrm>
              <a:off x="2260314" y="2534293"/>
              <a:ext cx="1818526" cy="719191"/>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Automatic data entry is performed</a:t>
              </a:r>
            </a:p>
          </p:txBody>
        </p:sp>
        <p:sp>
          <p:nvSpPr>
            <p:cNvPr id="10" name="Stroomdiagram: Beslissing 3">
              <a:extLst>
                <a:ext uri="{FF2B5EF4-FFF2-40B4-BE49-F238E27FC236}">
                  <a16:creationId xmlns:a16="http://schemas.microsoft.com/office/drawing/2014/main" id="{1D0BF548-0243-4122-AFA7-4F7FF83CAD63}"/>
                </a:ext>
              </a:extLst>
            </p:cNvPr>
            <p:cNvSpPr/>
            <p:nvPr/>
          </p:nvSpPr>
          <p:spPr>
            <a:xfrm>
              <a:off x="4649055" y="3591676"/>
              <a:ext cx="2116477" cy="719191"/>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All data complete?</a:t>
              </a:r>
            </a:p>
          </p:txBody>
        </p:sp>
        <p:sp>
          <p:nvSpPr>
            <p:cNvPr id="11" name="Stroomdiagram: Proces 8">
              <a:extLst>
                <a:ext uri="{FF2B5EF4-FFF2-40B4-BE49-F238E27FC236}">
                  <a16:creationId xmlns:a16="http://schemas.microsoft.com/office/drawing/2014/main" id="{4E5261E3-00C0-4507-9F9C-521FD51C3D9B}"/>
                </a:ext>
              </a:extLst>
            </p:cNvPr>
            <p:cNvSpPr/>
            <p:nvPr/>
          </p:nvSpPr>
          <p:spPr>
            <a:xfrm>
              <a:off x="2260314" y="4618235"/>
              <a:ext cx="1818526" cy="719191"/>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put data manually</a:t>
              </a:r>
            </a:p>
          </p:txBody>
        </p:sp>
        <p:sp>
          <p:nvSpPr>
            <p:cNvPr id="12" name="Stroomdiagram: Proces 9">
              <a:extLst>
                <a:ext uri="{FF2B5EF4-FFF2-40B4-BE49-F238E27FC236}">
                  <a16:creationId xmlns:a16="http://schemas.microsoft.com/office/drawing/2014/main" id="{6F163F65-B848-4698-844A-7F35FC3A48CC}"/>
                </a:ext>
              </a:extLst>
            </p:cNvPr>
            <p:cNvSpPr/>
            <p:nvPr/>
          </p:nvSpPr>
          <p:spPr>
            <a:xfrm>
              <a:off x="4798030" y="5706438"/>
              <a:ext cx="1818526" cy="719191"/>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Start button available</a:t>
              </a:r>
            </a:p>
            <a:p>
              <a:pPr algn="ctr"/>
              <a:r>
                <a:rPr lang="en-GB" sz="1400"/>
                <a:t>Press start</a:t>
              </a:r>
            </a:p>
          </p:txBody>
        </p:sp>
        <p:cxnSp>
          <p:nvCxnSpPr>
            <p:cNvPr id="13" name="Rechte verbindingslijn met pijl 11">
              <a:extLst>
                <a:ext uri="{FF2B5EF4-FFF2-40B4-BE49-F238E27FC236}">
                  <a16:creationId xmlns:a16="http://schemas.microsoft.com/office/drawing/2014/main" id="{4E80D47E-F502-4B1F-A256-E8B8FBA478A3}"/>
                </a:ext>
              </a:extLst>
            </p:cNvPr>
            <p:cNvCxnSpPr>
              <a:stCxn id="7" idx="2"/>
              <a:endCxn id="8" idx="0"/>
            </p:cNvCxnSpPr>
            <p:nvPr/>
          </p:nvCxnSpPr>
          <p:spPr>
            <a:xfrm>
              <a:off x="5707294" y="1151562"/>
              <a:ext cx="0" cy="4186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Rechte verbindingslijn met pijl 13">
              <a:extLst>
                <a:ext uri="{FF2B5EF4-FFF2-40B4-BE49-F238E27FC236}">
                  <a16:creationId xmlns:a16="http://schemas.microsoft.com/office/drawing/2014/main" id="{5674F5BC-2409-4D44-AD4C-0BF8D8BEB5C8}"/>
                </a:ext>
              </a:extLst>
            </p:cNvPr>
            <p:cNvCxnSpPr>
              <a:stCxn id="8" idx="2"/>
              <a:endCxn id="10" idx="0"/>
            </p:cNvCxnSpPr>
            <p:nvPr/>
          </p:nvCxnSpPr>
          <p:spPr>
            <a:xfrm>
              <a:off x="5707294" y="2289426"/>
              <a:ext cx="0" cy="13022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Rechte verbindingslijn met pijl 14">
              <a:extLst>
                <a:ext uri="{FF2B5EF4-FFF2-40B4-BE49-F238E27FC236}">
                  <a16:creationId xmlns:a16="http://schemas.microsoft.com/office/drawing/2014/main" id="{1FEA6E48-F738-4C6C-B9B8-5B2151A4B182}"/>
                </a:ext>
              </a:extLst>
            </p:cNvPr>
            <p:cNvCxnSpPr>
              <a:cxnSpLocks/>
              <a:endCxn id="12" idx="0"/>
            </p:cNvCxnSpPr>
            <p:nvPr/>
          </p:nvCxnSpPr>
          <p:spPr>
            <a:xfrm>
              <a:off x="5707293" y="4310867"/>
              <a:ext cx="0" cy="1395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Rechte verbindingslijn met pijl 17">
              <a:extLst>
                <a:ext uri="{FF2B5EF4-FFF2-40B4-BE49-F238E27FC236}">
                  <a16:creationId xmlns:a16="http://schemas.microsoft.com/office/drawing/2014/main" id="{CF4D963C-7C96-4421-8EDF-C2CC8E4675E7}"/>
                </a:ext>
              </a:extLst>
            </p:cNvPr>
            <p:cNvCxnSpPr>
              <a:stCxn id="9" idx="3"/>
            </p:cNvCxnSpPr>
            <p:nvPr/>
          </p:nvCxnSpPr>
          <p:spPr>
            <a:xfrm flipV="1">
              <a:off x="4078840" y="2893888"/>
              <a:ext cx="162845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Rechte verbindingslijn met pijl 19">
              <a:extLst>
                <a:ext uri="{FF2B5EF4-FFF2-40B4-BE49-F238E27FC236}">
                  <a16:creationId xmlns:a16="http://schemas.microsoft.com/office/drawing/2014/main" id="{9CE2645B-2B32-4943-B65F-3FAE4986997C}"/>
                </a:ext>
              </a:extLst>
            </p:cNvPr>
            <p:cNvCxnSpPr>
              <a:cxnSpLocks/>
              <a:stCxn id="10" idx="1"/>
            </p:cNvCxnSpPr>
            <p:nvPr/>
          </p:nvCxnSpPr>
          <p:spPr>
            <a:xfrm flipH="1" flipV="1">
              <a:off x="3169577" y="3951269"/>
              <a:ext cx="1479478"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Rechte verbindingslijn met pijl 21">
              <a:extLst>
                <a:ext uri="{FF2B5EF4-FFF2-40B4-BE49-F238E27FC236}">
                  <a16:creationId xmlns:a16="http://schemas.microsoft.com/office/drawing/2014/main" id="{512111B1-1D6F-4D7F-9EFE-337E06583E46}"/>
                </a:ext>
              </a:extLst>
            </p:cNvPr>
            <p:cNvCxnSpPr>
              <a:cxnSpLocks/>
              <a:endCxn id="11" idx="0"/>
            </p:cNvCxnSpPr>
            <p:nvPr/>
          </p:nvCxnSpPr>
          <p:spPr>
            <a:xfrm>
              <a:off x="3169577" y="3951271"/>
              <a:ext cx="0" cy="6669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Rechte verbindingslijn met pijl 24">
              <a:extLst>
                <a:ext uri="{FF2B5EF4-FFF2-40B4-BE49-F238E27FC236}">
                  <a16:creationId xmlns:a16="http://schemas.microsoft.com/office/drawing/2014/main" id="{C1D37342-5145-4794-B995-656F7693C86F}"/>
                </a:ext>
              </a:extLst>
            </p:cNvPr>
            <p:cNvCxnSpPr/>
            <p:nvPr/>
          </p:nvCxnSpPr>
          <p:spPr>
            <a:xfrm flipV="1">
              <a:off x="4078840" y="5008651"/>
              <a:ext cx="162845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kstvak 25">
              <a:extLst>
                <a:ext uri="{FF2B5EF4-FFF2-40B4-BE49-F238E27FC236}">
                  <a16:creationId xmlns:a16="http://schemas.microsoft.com/office/drawing/2014/main" id="{768CA0F1-2B1C-48DC-BE1E-1276DEF6C736}"/>
                </a:ext>
              </a:extLst>
            </p:cNvPr>
            <p:cNvSpPr txBox="1"/>
            <p:nvPr/>
          </p:nvSpPr>
          <p:spPr>
            <a:xfrm>
              <a:off x="4389120" y="3703320"/>
              <a:ext cx="259935" cy="307777"/>
            </a:xfrm>
            <a:prstGeom prst="rect">
              <a:avLst/>
            </a:prstGeom>
            <a:noFill/>
          </p:spPr>
          <p:txBody>
            <a:bodyPr wrap="square" rtlCol="0">
              <a:spAutoFit/>
            </a:bodyPr>
            <a:lstStyle/>
            <a:p>
              <a:pPr algn="l"/>
              <a:r>
                <a:rPr lang="en-GB" sz="1400" b="1">
                  <a:solidFill>
                    <a:srgbClr val="0C1D3E"/>
                  </a:solidFill>
                  <a:ea typeface="Calibri" panose="020F0502020204030204" pitchFamily="34" charset="0"/>
                  <a:cs typeface="Arial" panose="020B0604020202020204" pitchFamily="34" charset="0"/>
                </a:rPr>
                <a:t>n</a:t>
              </a:r>
            </a:p>
          </p:txBody>
        </p:sp>
        <p:sp>
          <p:nvSpPr>
            <p:cNvPr id="27" name="Tekstvak 26">
              <a:extLst>
                <a:ext uri="{FF2B5EF4-FFF2-40B4-BE49-F238E27FC236}">
                  <a16:creationId xmlns:a16="http://schemas.microsoft.com/office/drawing/2014/main" id="{CC74CBB9-6A50-45FF-8DC1-81A62B7B0B03}"/>
                </a:ext>
              </a:extLst>
            </p:cNvPr>
            <p:cNvSpPr txBox="1"/>
            <p:nvPr/>
          </p:nvSpPr>
          <p:spPr>
            <a:xfrm>
              <a:off x="5707294" y="4284753"/>
              <a:ext cx="259935" cy="307777"/>
            </a:xfrm>
            <a:prstGeom prst="rect">
              <a:avLst/>
            </a:prstGeom>
            <a:noFill/>
          </p:spPr>
          <p:txBody>
            <a:bodyPr wrap="square" rtlCol="0">
              <a:spAutoFit/>
            </a:bodyPr>
            <a:lstStyle/>
            <a:p>
              <a:pPr algn="l"/>
              <a:r>
                <a:rPr lang="en-GB" sz="1400" b="1">
                  <a:solidFill>
                    <a:srgbClr val="0C1D3E"/>
                  </a:solidFill>
                  <a:ea typeface="Calibri" panose="020F0502020204030204" pitchFamily="34" charset="0"/>
                  <a:cs typeface="Arial" panose="020B0604020202020204" pitchFamily="34" charset="0"/>
                </a:rPr>
                <a:t>y</a:t>
              </a:r>
            </a:p>
          </p:txBody>
        </p:sp>
      </p:grpSp>
      <p:sp>
        <p:nvSpPr>
          <p:cNvPr id="16" name="Tekstvak 2">
            <a:extLst>
              <a:ext uri="{FF2B5EF4-FFF2-40B4-BE49-F238E27FC236}">
                <a16:creationId xmlns:a16="http://schemas.microsoft.com/office/drawing/2014/main" id="{594A44D8-84AC-7EC2-376D-FE6013DA3F7C}"/>
              </a:ext>
            </a:extLst>
          </p:cNvPr>
          <p:cNvSpPr txBox="1"/>
          <p:nvPr/>
        </p:nvSpPr>
        <p:spPr>
          <a:xfrm>
            <a:off x="5017212" y="1533433"/>
            <a:ext cx="2157575" cy="369332"/>
          </a:xfrm>
          <a:prstGeom prst="rect">
            <a:avLst/>
          </a:prstGeom>
          <a:noFill/>
        </p:spPr>
        <p:txBody>
          <a:bodyPr wrap="square" rtlCol="0">
            <a:spAutoFit/>
          </a:bodyPr>
          <a:lstStyle/>
          <a:p>
            <a:pPr algn="ctr"/>
            <a:r>
              <a:rPr lang="en-US" b="1">
                <a:solidFill>
                  <a:srgbClr val="0C1D3E"/>
                </a:solidFill>
                <a:ea typeface="Calibri" panose="020F0502020204030204" pitchFamily="34" charset="0"/>
                <a:cs typeface="Arial" panose="020B0604020202020204" pitchFamily="34" charset="0"/>
              </a:rPr>
              <a:t>Scenario based</a:t>
            </a:r>
          </a:p>
        </p:txBody>
      </p:sp>
      <p:sp>
        <p:nvSpPr>
          <p:cNvPr id="19" name="Title 1">
            <a:extLst>
              <a:ext uri="{FF2B5EF4-FFF2-40B4-BE49-F238E27FC236}">
                <a16:creationId xmlns:a16="http://schemas.microsoft.com/office/drawing/2014/main" id="{FBD3D27A-C38F-09DB-74F6-77694A1F8DEE}"/>
              </a:ext>
            </a:extLst>
          </p:cNvPr>
          <p:cNvSpPr>
            <a:spLocks noGrp="1"/>
          </p:cNvSpPr>
          <p:nvPr>
            <p:ph type="title"/>
          </p:nvPr>
        </p:nvSpPr>
        <p:spPr>
          <a:xfrm>
            <a:off x="1888181" y="587606"/>
            <a:ext cx="9567219" cy="436861"/>
          </a:xfrm>
        </p:spPr>
        <p:txBody>
          <a:bodyPr vert="horz" lIns="91440" tIns="45720" rIns="91440" bIns="45720" anchor="t">
            <a:noAutofit/>
          </a:bodyPr>
          <a:lstStyle/>
          <a:p>
            <a:r>
              <a:rPr lang="en-GB" sz="2800" b="1"/>
              <a:t>Link between Rulebooks T2 &amp; T4 System Pillar </a:t>
            </a:r>
            <a:endParaRPr lang="en-GB" sz="2800" b="1" noProof="0"/>
          </a:p>
        </p:txBody>
      </p:sp>
      <p:sp>
        <p:nvSpPr>
          <p:cNvPr id="6" name="Foliennummernplatzhalter 3">
            <a:extLst>
              <a:ext uri="{FF2B5EF4-FFF2-40B4-BE49-F238E27FC236}">
                <a16:creationId xmlns:a16="http://schemas.microsoft.com/office/drawing/2014/main" id="{6F2AB20C-6730-F3DC-412B-B0D77CBCBCA2}"/>
              </a:ext>
            </a:extLst>
          </p:cNvPr>
          <p:cNvSpPr txBox="1">
            <a:spLocks/>
          </p:cNvSpPr>
          <p:nvPr/>
        </p:nvSpPr>
        <p:spPr>
          <a:xfrm>
            <a:off x="11162839" y="6489892"/>
            <a:ext cx="627951" cy="36512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fld id="{6ABB0DC6-0311-9D4C-8333-A8862636E7AD}" type="slidenum">
              <a:rPr lang="en-GB" sz="900" smtClean="0">
                <a:solidFill>
                  <a:prstClr val="black">
                    <a:tint val="75000"/>
                  </a:prstClr>
                </a:solidFill>
                <a:latin typeface="Calibri" panose="020F0502020204030204"/>
              </a:rPr>
              <a:pPr algn="ctr">
                <a:defRPr/>
              </a:pPr>
              <a:t>20</a:t>
            </a:fld>
            <a:endParaRPr lang="en-GB" sz="900">
              <a:solidFill>
                <a:prstClr val="black">
                  <a:tint val="75000"/>
                </a:prstClr>
              </a:solidFill>
              <a:latin typeface="Calibri" panose="020F0502020204030204"/>
            </a:endParaRPr>
          </a:p>
        </p:txBody>
      </p:sp>
    </p:spTree>
    <p:extLst>
      <p:ext uri="{BB962C8B-B14F-4D97-AF65-F5344CB8AC3E}">
        <p14:creationId xmlns:p14="http://schemas.microsoft.com/office/powerpoint/2010/main" val="2673418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D24CE3D1-F3E2-4845-9714-7330D5753B14}"/>
              </a:ext>
            </a:extLst>
          </p:cNvPr>
          <p:cNvSpPr/>
          <p:nvPr/>
        </p:nvSpPr>
        <p:spPr>
          <a:xfrm>
            <a:off x="9973426" y="1573515"/>
            <a:ext cx="1192055" cy="2876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SOM 101</a:t>
            </a:r>
            <a:endParaRPr lang="en-GB"/>
          </a:p>
        </p:txBody>
      </p:sp>
      <p:sp>
        <p:nvSpPr>
          <p:cNvPr id="4" name="Tijdelijke aanduiding voor tekst 3">
            <a:extLst>
              <a:ext uri="{FF2B5EF4-FFF2-40B4-BE49-F238E27FC236}">
                <a16:creationId xmlns:a16="http://schemas.microsoft.com/office/drawing/2014/main" id="{D924D866-B721-4CFE-9D4C-F2F0DAA7B697}"/>
              </a:ext>
            </a:extLst>
          </p:cNvPr>
          <p:cNvSpPr>
            <a:spLocks noGrp="1"/>
          </p:cNvSpPr>
          <p:nvPr>
            <p:ph type="body" sz="quarter" idx="12"/>
          </p:nvPr>
        </p:nvSpPr>
        <p:spPr>
          <a:xfrm>
            <a:off x="1221002" y="1329100"/>
            <a:ext cx="4877306" cy="5291762"/>
          </a:xfrm>
        </p:spPr>
        <p:txBody>
          <a:bodyPr lIns="91440" tIns="45720" rIns="91440" bIns="45720" anchor="t"/>
          <a:lstStyle/>
          <a:p>
            <a:r>
              <a:rPr lang="en-GB" sz="2400" b="1" u="sng" noProof="0"/>
              <a:t>Example</a:t>
            </a:r>
            <a:r>
              <a:rPr lang="en-GB" sz="2400" b="1" u="sng"/>
              <a:t> Task2</a:t>
            </a:r>
            <a:r>
              <a:rPr lang="en-GB" sz="2400" b="1" u="sng" noProof="0"/>
              <a:t>:</a:t>
            </a:r>
          </a:p>
          <a:p>
            <a:endParaRPr lang="en-GB" noProof="0"/>
          </a:p>
          <a:p>
            <a:endParaRPr lang="en-GB" noProof="0"/>
          </a:p>
          <a:p>
            <a:pPr marL="342900" indent="-342900">
              <a:buAutoNum type="arabicPeriod"/>
            </a:pPr>
            <a:r>
              <a:rPr lang="en-GB" noProof="0"/>
              <a:t>Flow chart based</a:t>
            </a:r>
          </a:p>
          <a:p>
            <a:endParaRPr lang="en-GB" noProof="0"/>
          </a:p>
          <a:p>
            <a:endParaRPr lang="en-GB" noProof="0"/>
          </a:p>
          <a:p>
            <a:endParaRPr lang="en-GB" noProof="0"/>
          </a:p>
          <a:p>
            <a:pPr marL="342900" indent="-342900">
              <a:buAutoNum type="arabicPeriod" startAt="2"/>
            </a:pPr>
            <a:r>
              <a:rPr lang="en-GB" noProof="0"/>
              <a:t>Text (instruction) based</a:t>
            </a:r>
          </a:p>
          <a:p>
            <a:pPr marL="342900" indent="-342900">
              <a:buAutoNum type="arabicPeriod" startAt="2"/>
            </a:pPr>
            <a:endParaRPr lang="en-GB" noProof="0"/>
          </a:p>
          <a:p>
            <a:pPr marL="342900" indent="-342900">
              <a:buAutoNum type="arabicPeriod" startAt="2"/>
            </a:pPr>
            <a:endParaRPr lang="en-GB" noProof="0"/>
          </a:p>
          <a:p>
            <a:pPr marL="342900" indent="-342900">
              <a:buAutoNum type="arabicPeriod" startAt="2"/>
            </a:pPr>
            <a:endParaRPr lang="en-GB" noProof="0"/>
          </a:p>
          <a:p>
            <a:pPr marL="342900" indent="-342900">
              <a:buAutoNum type="arabicPeriod" startAt="2"/>
            </a:pPr>
            <a:r>
              <a:rPr lang="en-GB" noProof="0"/>
              <a:t> Or both</a:t>
            </a:r>
          </a:p>
        </p:txBody>
      </p:sp>
      <p:pic>
        <p:nvPicPr>
          <p:cNvPr id="2" name="Afbeelding 1">
            <a:extLst>
              <a:ext uri="{FF2B5EF4-FFF2-40B4-BE49-F238E27FC236}">
                <a16:creationId xmlns:a16="http://schemas.microsoft.com/office/drawing/2014/main" id="{4E0C49CF-560B-4E8C-A9E3-C923A3E6386A}"/>
              </a:ext>
            </a:extLst>
          </p:cNvPr>
          <p:cNvPicPr>
            <a:picLocks noChangeAspect="1"/>
          </p:cNvPicPr>
          <p:nvPr/>
        </p:nvPicPr>
        <p:blipFill>
          <a:blip r:embed="rId2"/>
          <a:stretch>
            <a:fillRect/>
          </a:stretch>
        </p:blipFill>
        <p:spPr>
          <a:xfrm>
            <a:off x="6352777" y="2711317"/>
            <a:ext cx="2714123" cy="228246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3" name="Afbeelding 2">
            <a:extLst>
              <a:ext uri="{FF2B5EF4-FFF2-40B4-BE49-F238E27FC236}">
                <a16:creationId xmlns:a16="http://schemas.microsoft.com/office/drawing/2014/main" id="{C1FB6CFF-50F1-4EBE-A005-EE170DC0F79A}"/>
              </a:ext>
            </a:extLst>
          </p:cNvPr>
          <p:cNvPicPr>
            <a:picLocks noChangeAspect="1"/>
          </p:cNvPicPr>
          <p:nvPr/>
        </p:nvPicPr>
        <p:blipFill>
          <a:blip r:embed="rId3"/>
          <a:stretch>
            <a:fillRect/>
          </a:stretch>
        </p:blipFill>
        <p:spPr>
          <a:xfrm>
            <a:off x="6994315" y="235058"/>
            <a:ext cx="2072557" cy="24693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Afbeelding 4">
            <a:extLst>
              <a:ext uri="{FF2B5EF4-FFF2-40B4-BE49-F238E27FC236}">
                <a16:creationId xmlns:a16="http://schemas.microsoft.com/office/drawing/2014/main" id="{CF9B90BF-4098-4D85-B3CC-FFD58626D152}"/>
              </a:ext>
            </a:extLst>
          </p:cNvPr>
          <p:cNvPicPr>
            <a:picLocks noChangeAspect="1"/>
          </p:cNvPicPr>
          <p:nvPr/>
        </p:nvPicPr>
        <p:blipFill>
          <a:blip r:embed="rId2"/>
          <a:stretch>
            <a:fillRect/>
          </a:stretch>
        </p:blipFill>
        <p:spPr>
          <a:xfrm>
            <a:off x="6359478" y="5110169"/>
            <a:ext cx="1909811" cy="164894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Afbeelding 5">
            <a:extLst>
              <a:ext uri="{FF2B5EF4-FFF2-40B4-BE49-F238E27FC236}">
                <a16:creationId xmlns:a16="http://schemas.microsoft.com/office/drawing/2014/main" id="{D37BAF57-9705-41C7-8D8F-E880F678DF01}"/>
              </a:ext>
            </a:extLst>
          </p:cNvPr>
          <p:cNvPicPr>
            <a:picLocks noChangeAspect="1"/>
          </p:cNvPicPr>
          <p:nvPr/>
        </p:nvPicPr>
        <p:blipFill>
          <a:blip r:embed="rId3"/>
          <a:stretch>
            <a:fillRect/>
          </a:stretch>
        </p:blipFill>
        <p:spPr>
          <a:xfrm>
            <a:off x="9413838" y="4621340"/>
            <a:ext cx="1586462" cy="21423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itle 1">
            <a:extLst>
              <a:ext uri="{FF2B5EF4-FFF2-40B4-BE49-F238E27FC236}">
                <a16:creationId xmlns:a16="http://schemas.microsoft.com/office/drawing/2014/main" id="{3961506E-55AA-2AC0-4879-AAED8742B5A8}"/>
              </a:ext>
            </a:extLst>
          </p:cNvPr>
          <p:cNvSpPr txBox="1">
            <a:spLocks/>
          </p:cNvSpPr>
          <p:nvPr/>
        </p:nvSpPr>
        <p:spPr>
          <a:xfrm>
            <a:off x="1224178" y="228172"/>
            <a:ext cx="10303819" cy="722820"/>
          </a:xfrm>
        </p:spPr>
        <p:txBody>
          <a:bodyPr vert="horz"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800" b="1">
                <a:cs typeface="Arial"/>
              </a:rPr>
              <a:t>Link between Rulebooks</a:t>
            </a:r>
            <a:endParaRPr lang="en-GB" sz="2800" b="1"/>
          </a:p>
        </p:txBody>
      </p:sp>
      <p:sp>
        <p:nvSpPr>
          <p:cNvPr id="8" name="Foliennummernplatzhalter 3">
            <a:extLst>
              <a:ext uri="{FF2B5EF4-FFF2-40B4-BE49-F238E27FC236}">
                <a16:creationId xmlns:a16="http://schemas.microsoft.com/office/drawing/2014/main" id="{7715314F-6701-CC0A-FAE4-6FB26E5126F2}"/>
              </a:ext>
            </a:extLst>
          </p:cNvPr>
          <p:cNvSpPr txBox="1">
            <a:spLocks/>
          </p:cNvSpPr>
          <p:nvPr/>
        </p:nvSpPr>
        <p:spPr>
          <a:xfrm>
            <a:off x="11162839" y="6489892"/>
            <a:ext cx="627951" cy="36512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fld id="{6ABB0DC6-0311-9D4C-8333-A8862636E7AD}" type="slidenum">
              <a:rPr lang="en-GB" sz="900" smtClean="0">
                <a:solidFill>
                  <a:prstClr val="black">
                    <a:tint val="75000"/>
                  </a:prstClr>
                </a:solidFill>
                <a:latin typeface="Calibri" panose="020F0502020204030204"/>
              </a:rPr>
              <a:pPr algn="ctr">
                <a:defRPr/>
              </a:pPr>
              <a:t>21</a:t>
            </a:fld>
            <a:endParaRPr lang="en-GB" sz="900">
              <a:solidFill>
                <a:prstClr val="black">
                  <a:tint val="75000"/>
                </a:prstClr>
              </a:solidFill>
              <a:latin typeface="Calibri" panose="020F0502020204030204"/>
            </a:endParaRPr>
          </a:p>
        </p:txBody>
      </p:sp>
    </p:spTree>
    <p:extLst>
      <p:ext uri="{BB962C8B-B14F-4D97-AF65-F5344CB8AC3E}">
        <p14:creationId xmlns:p14="http://schemas.microsoft.com/office/powerpoint/2010/main" val="20149356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2F78DE-04C8-4FEE-BF74-035AE9398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4" name="think-cell data - do not delete" hidden="1">
                        <a:extLst>
                          <a:ext uri="{FF2B5EF4-FFF2-40B4-BE49-F238E27FC236}">
                            <a16:creationId xmlns:a16="http://schemas.microsoft.com/office/drawing/2014/main" id="{B42F78DE-04C8-4FEE-BF74-035AE9398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FE635721-341F-3EED-80EB-690C7FC9033D}"/>
              </a:ext>
            </a:extLst>
          </p:cNvPr>
          <p:cNvSpPr>
            <a:spLocks noGrp="1"/>
          </p:cNvSpPr>
          <p:nvPr>
            <p:ph type="title"/>
          </p:nvPr>
        </p:nvSpPr>
        <p:spPr>
          <a:xfrm>
            <a:off x="1807498" y="1080665"/>
            <a:ext cx="10303819" cy="722820"/>
          </a:xfrm>
        </p:spPr>
        <p:txBody>
          <a:bodyPr vert="horz" lIns="91440" tIns="45720" rIns="91440" bIns="45720" anchor="t">
            <a:noAutofit/>
          </a:bodyPr>
          <a:lstStyle/>
          <a:p>
            <a:r>
              <a:rPr lang="en-US" sz="2800" b="1"/>
              <a:t>agreeing on a common target picture on the rulebook</a:t>
            </a:r>
          </a:p>
        </p:txBody>
      </p:sp>
      <p:sp>
        <p:nvSpPr>
          <p:cNvPr id="8" name="Textplatzhalter 2">
            <a:extLst>
              <a:ext uri="{FF2B5EF4-FFF2-40B4-BE49-F238E27FC236}">
                <a16:creationId xmlns:a16="http://schemas.microsoft.com/office/drawing/2014/main" id="{63B32D4A-F8D5-0275-DFB7-D7A17A7FBA76}"/>
              </a:ext>
            </a:extLst>
          </p:cNvPr>
          <p:cNvSpPr txBox="1">
            <a:spLocks/>
          </p:cNvSpPr>
          <p:nvPr/>
        </p:nvSpPr>
        <p:spPr>
          <a:xfrm>
            <a:off x="462596" y="2556933"/>
            <a:ext cx="11626242" cy="1744133"/>
          </a:xfrm>
        </p:spPr>
        <p:txBody>
          <a:bodyPr lIns="91440" tIns="45720" rIns="91440" bIns="45720" anchor="t"/>
          <a:lstStyle>
            <a:defPPr>
              <a:defRPr lang="fr-FR"/>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ctr"/>
            <a:r>
              <a:rPr lang="en-US" sz="2000">
                <a:latin typeface="Arial"/>
                <a:cs typeface="Arial"/>
              </a:rPr>
              <a:t>Key statement : </a:t>
            </a:r>
            <a:endParaRPr lang="en-US" sz="2000"/>
          </a:p>
          <a:p>
            <a:pPr algn="ctr"/>
            <a:endParaRPr lang="en-US" sz="2000"/>
          </a:p>
          <a:p>
            <a:pPr algn="ctr"/>
            <a:r>
              <a:rPr lang="en-US" sz="2800">
                <a:latin typeface="Arial"/>
                <a:cs typeface="Arial"/>
              </a:rPr>
              <a:t>We will make the DAC/FDFT Rule Book self-mandatory in Europe</a:t>
            </a:r>
          </a:p>
        </p:txBody>
      </p:sp>
      <p:sp>
        <p:nvSpPr>
          <p:cNvPr id="2" name="Foliennummernplatzhalter 3">
            <a:extLst>
              <a:ext uri="{FF2B5EF4-FFF2-40B4-BE49-F238E27FC236}">
                <a16:creationId xmlns:a16="http://schemas.microsoft.com/office/drawing/2014/main" id="{0F974024-8DBB-B696-C046-85598299B9F6}"/>
              </a:ext>
            </a:extLst>
          </p:cNvPr>
          <p:cNvSpPr txBox="1">
            <a:spLocks/>
          </p:cNvSpPr>
          <p:nvPr/>
        </p:nvSpPr>
        <p:spPr>
          <a:xfrm>
            <a:off x="11162839" y="6489892"/>
            <a:ext cx="627951" cy="36512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fld id="{6ABB0DC6-0311-9D4C-8333-A8862636E7AD}" type="slidenum">
              <a:rPr lang="en-GB" sz="900" smtClean="0">
                <a:solidFill>
                  <a:prstClr val="black">
                    <a:tint val="75000"/>
                  </a:prstClr>
                </a:solidFill>
                <a:latin typeface="Calibri" panose="020F0502020204030204"/>
              </a:rPr>
              <a:pPr algn="ctr">
                <a:defRPr/>
              </a:pPr>
              <a:t>22</a:t>
            </a:fld>
            <a:endParaRPr lang="en-GB" sz="900">
              <a:solidFill>
                <a:prstClr val="black">
                  <a:tint val="75000"/>
                </a:prstClr>
              </a:solidFill>
              <a:latin typeface="Calibri" panose="020F0502020204030204"/>
            </a:endParaRPr>
          </a:p>
        </p:txBody>
      </p:sp>
    </p:spTree>
    <p:extLst>
      <p:ext uri="{BB962C8B-B14F-4D97-AF65-F5344CB8AC3E}">
        <p14:creationId xmlns:p14="http://schemas.microsoft.com/office/powerpoint/2010/main" val="30873146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441728E-F287-094E-D610-47B62C0596DF}"/>
              </a:ext>
            </a:extLst>
          </p:cNvPr>
          <p:cNvSpPr>
            <a:spLocks noGrp="1"/>
          </p:cNvSpPr>
          <p:nvPr>
            <p:ph type="body" sz="quarter" idx="10"/>
          </p:nvPr>
        </p:nvSpPr>
        <p:spPr>
          <a:xfrm>
            <a:off x="2853531" y="2444696"/>
            <a:ext cx="6484937" cy="1053089"/>
          </a:xfrm>
        </p:spPr>
        <p:txBody>
          <a:bodyPr>
            <a:normAutofit/>
          </a:bodyPr>
          <a:lstStyle/>
          <a:p>
            <a:r>
              <a:rPr lang="en-GB" sz="3600">
                <a:solidFill>
                  <a:schemeClr val="tx2"/>
                </a:solidFill>
              </a:rPr>
              <a:t>Safe Train length/-integrity</a:t>
            </a:r>
          </a:p>
          <a:p>
            <a:endParaRPr lang="en-US" sz="3600"/>
          </a:p>
        </p:txBody>
      </p:sp>
    </p:spTree>
    <p:extLst>
      <p:ext uri="{BB962C8B-B14F-4D97-AF65-F5344CB8AC3E}">
        <p14:creationId xmlns:p14="http://schemas.microsoft.com/office/powerpoint/2010/main" val="2857918987"/>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00981A-170F-6D85-D1D1-5D3DB98236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5" name="think-cell data - do not delete" hidden="1">
                        <a:extLst>
                          <a:ext uri="{FF2B5EF4-FFF2-40B4-BE49-F238E27FC236}">
                            <a16:creationId xmlns:a16="http://schemas.microsoft.com/office/drawing/2014/main" id="{9A00981A-170F-6D85-D1D1-5D3DB98236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BBB78FF3-60FE-5DE5-D39C-902AC168B7BE}"/>
              </a:ext>
            </a:extLst>
          </p:cNvPr>
          <p:cNvSpPr txBox="1"/>
          <p:nvPr/>
        </p:nvSpPr>
        <p:spPr>
          <a:xfrm>
            <a:off x="720000" y="2111574"/>
            <a:ext cx="11167261" cy="417037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C1D3E"/>
                </a:solidFill>
                <a:effectLst/>
                <a:uLnTx/>
                <a:uFillTx/>
                <a:latin typeface="Arial"/>
                <a:ea typeface="+mn-ea"/>
                <a:cs typeface="+mn-cs"/>
              </a:rPr>
              <a:t>Through the work in Task 4, mainly regarding the high-level specifications and </a:t>
            </a:r>
            <a:r>
              <a:rPr kumimoji="0" lang="en-US" sz="2400" b="1" i="0" u="none" strike="noStrike" kern="1200" cap="none" spc="0" normalizeH="0" baseline="0" noProof="0">
                <a:ln>
                  <a:noFill/>
                </a:ln>
                <a:solidFill>
                  <a:srgbClr val="0C1D3E"/>
                </a:solidFill>
                <a:effectLst/>
                <a:uLnTx/>
                <a:uFillTx/>
                <a:latin typeface="Arial"/>
                <a:ea typeface="+mn-ea"/>
                <a:cs typeface="+mn-cs"/>
              </a:rPr>
              <a:t>providing the system view</a:t>
            </a:r>
            <a:r>
              <a:rPr kumimoji="0" lang="en-US" sz="2400" b="0" i="0" u="none" strike="noStrike" kern="1200" cap="none" spc="0" normalizeH="0" baseline="0" noProof="0">
                <a:ln>
                  <a:noFill/>
                </a:ln>
                <a:solidFill>
                  <a:srgbClr val="0C1D3E"/>
                </a:solidFill>
                <a:effectLst/>
                <a:uLnTx/>
                <a:uFillTx/>
                <a:latin typeface="Arial"/>
                <a:ea typeface="+mn-ea"/>
                <a:cs typeface="+mn-cs"/>
              </a:rPr>
              <a:t>, System Pillar will be supporting the improvement of freight train composition, operation and capacity of track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C1D3E"/>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C1D3E"/>
                </a:solidFill>
                <a:effectLst/>
                <a:uLnTx/>
                <a:uFillTx/>
                <a:latin typeface="Arial"/>
                <a:ea typeface="+mn-ea"/>
                <a:cs typeface="+mn-cs"/>
              </a:rPr>
              <a:t>Within this overall remit, an investigation on </a:t>
            </a:r>
            <a:r>
              <a:rPr kumimoji="0" lang="en-US" sz="2400" b="1" i="0" u="none" strike="noStrike" kern="1200" cap="none" spc="0" normalizeH="0" baseline="0" noProof="0">
                <a:ln>
                  <a:noFill/>
                </a:ln>
                <a:solidFill>
                  <a:srgbClr val="0C1D3E"/>
                </a:solidFill>
                <a:effectLst/>
                <a:uLnTx/>
                <a:uFillTx/>
                <a:latin typeface="Arial"/>
                <a:ea typeface="+mn-ea"/>
                <a:cs typeface="+mn-cs"/>
              </a:rPr>
              <a:t>interfaces </a:t>
            </a:r>
            <a:r>
              <a:rPr kumimoji="0" lang="en-US" sz="2400" b="0" i="0" u="none" strike="noStrike" kern="1200" cap="none" spc="0" normalizeH="0" baseline="0" noProof="0">
                <a:ln>
                  <a:noFill/>
                </a:ln>
                <a:solidFill>
                  <a:srgbClr val="0C1D3E"/>
                </a:solidFill>
                <a:effectLst/>
                <a:uLnTx/>
                <a:uFillTx/>
                <a:latin typeface="Arial"/>
                <a:ea typeface="+mn-ea"/>
                <a:cs typeface="+mn-cs"/>
              </a:rPr>
              <a:t>from train-internal (covered in full responsibility of FP5) </a:t>
            </a:r>
            <a:r>
              <a:rPr kumimoji="0" lang="en-US" sz="2400" b="1" i="0" u="none" strike="noStrike" kern="1200" cap="none" spc="0" normalizeH="0" baseline="0" noProof="0">
                <a:ln>
                  <a:noFill/>
                </a:ln>
                <a:solidFill>
                  <a:srgbClr val="0C1D3E"/>
                </a:solidFill>
                <a:effectLst/>
                <a:uLnTx/>
                <a:uFillTx/>
                <a:latin typeface="Arial"/>
                <a:ea typeface="+mn-ea"/>
                <a:cs typeface="+mn-cs"/>
              </a:rPr>
              <a:t>to the “outside” world </a:t>
            </a:r>
            <a:r>
              <a:rPr kumimoji="0" lang="en-US" sz="2400" b="0" i="0" u="none" strike="noStrike" kern="1200" cap="none" spc="0" normalizeH="0" baseline="0" noProof="0">
                <a:ln>
                  <a:noFill/>
                </a:ln>
                <a:solidFill>
                  <a:srgbClr val="0C1D3E"/>
                </a:solidFill>
                <a:effectLst/>
                <a:uLnTx/>
                <a:uFillTx/>
                <a:latin typeface="Arial"/>
                <a:ea typeface="+mn-ea"/>
                <a:cs typeface="+mn-cs"/>
              </a:rPr>
              <a:t>was conduct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C1D3E"/>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C1D3E"/>
                </a:solidFill>
                <a:effectLst/>
                <a:uLnTx/>
                <a:uFillTx/>
                <a:latin typeface="Arial"/>
                <a:ea typeface="+mn-ea"/>
                <a:cs typeface="+mn-cs"/>
              </a:rPr>
              <a:t>Regarding ERTMS, one major point was identified, to be covered by FA5:</a:t>
            </a:r>
            <a:br>
              <a:rPr kumimoji="0" lang="en-US" sz="2400" b="0" i="0" u="none" strike="noStrike" kern="1200" cap="none" spc="0" normalizeH="0" baseline="0" noProof="0">
                <a:ln>
                  <a:noFill/>
                </a:ln>
                <a:solidFill>
                  <a:srgbClr val="0C1D3E"/>
                </a:solidFill>
                <a:effectLst/>
                <a:uLnTx/>
                <a:uFillTx/>
                <a:latin typeface="Arial"/>
                <a:ea typeface="+mn-ea"/>
                <a:cs typeface="+mn-cs"/>
              </a:rPr>
            </a:br>
            <a:r>
              <a:rPr kumimoji="0" lang="en-US" sz="2400" b="0" i="0" u="none" strike="noStrike" kern="1200" cap="none" spc="0" normalizeH="0" baseline="0" noProof="0">
                <a:ln>
                  <a:noFill/>
                </a:ln>
                <a:solidFill>
                  <a:srgbClr val="0C1D3E"/>
                </a:solidFill>
                <a:effectLst/>
                <a:uLnTx/>
                <a:uFillTx/>
                <a:latin typeface="Arial"/>
                <a:ea typeface="+mn-ea"/>
                <a:cs typeface="+mn-cs"/>
              </a:rPr>
              <a:t>Enabling ETCS moving block operations (or L2 hybrid) of freight trains by delivering a </a:t>
            </a:r>
            <a:r>
              <a:rPr kumimoji="0" lang="en-US" sz="2400" b="1" i="0" u="none" strike="noStrike" kern="1200" cap="none" spc="0" normalizeH="0" baseline="0" noProof="0">
                <a:ln>
                  <a:noFill/>
                </a:ln>
                <a:solidFill>
                  <a:srgbClr val="0C1D3E"/>
                </a:solidFill>
                <a:effectLst/>
                <a:uLnTx/>
                <a:uFillTx/>
                <a:latin typeface="Arial"/>
                <a:ea typeface="+mn-ea"/>
                <a:cs typeface="+mn-cs"/>
              </a:rPr>
              <a:t>Safe Train Length and Train Integrity.</a:t>
            </a:r>
          </a:p>
        </p:txBody>
      </p:sp>
      <p:sp>
        <p:nvSpPr>
          <p:cNvPr id="2" name="Titel 4">
            <a:extLst>
              <a:ext uri="{FF2B5EF4-FFF2-40B4-BE49-F238E27FC236}">
                <a16:creationId xmlns:a16="http://schemas.microsoft.com/office/drawing/2014/main" id="{7F482AF4-E057-D977-37BD-F259283BC933}"/>
              </a:ext>
            </a:extLst>
          </p:cNvPr>
          <p:cNvSpPr>
            <a:spLocks noGrp="1"/>
          </p:cNvSpPr>
          <p:nvPr>
            <p:ph type="title"/>
            <p:custDataLst>
              <p:tags r:id="rId2"/>
            </p:custDataLst>
          </p:nvPr>
        </p:nvSpPr>
        <p:spPr>
          <a:xfrm>
            <a:off x="1785464" y="177679"/>
            <a:ext cx="9568336" cy="684717"/>
          </a:xfrm>
          <a:prstGeom prst="rect">
            <a:avLst/>
          </a:prstGeom>
        </p:spPr>
        <p:txBody>
          <a:bodyPr vert="horz"/>
          <a:lstStyle/>
          <a:p>
            <a:r>
              <a:rPr lang="en-US" sz="2400" b="1">
                <a:solidFill>
                  <a:srgbClr val="132E63"/>
                </a:solidFill>
                <a:latin typeface="Open Sans" panose="020B0606030504020204" pitchFamily="34" charset="0"/>
                <a:ea typeface="Open Sans" panose="020B0606030504020204" pitchFamily="34" charset="0"/>
                <a:cs typeface="Open Sans" panose="020B0606030504020204" pitchFamily="34" charset="0"/>
              </a:rPr>
              <a:t>Result of investigations of System Pillar Task 4</a:t>
            </a:r>
          </a:p>
        </p:txBody>
      </p:sp>
    </p:spTree>
    <p:extLst>
      <p:ext uri="{BB962C8B-B14F-4D97-AF65-F5344CB8AC3E}">
        <p14:creationId xmlns:p14="http://schemas.microsoft.com/office/powerpoint/2010/main" val="37387506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0EDF333-95DA-2A6F-F726-4D91807177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38" imgH="338" progId="TCLayout.ActiveDocument.1">
                  <p:embed/>
                </p:oleObj>
              </mc:Choice>
              <mc:Fallback>
                <p:oleObj name="think-cell Folie" r:id="rId5" imgW="338" imgH="338" progId="TCLayout.ActiveDocument.1">
                  <p:embed/>
                  <p:pic>
                    <p:nvPicPr>
                      <p:cNvPr id="4" name="think-cell data - do not delete" hidden="1">
                        <a:extLst>
                          <a:ext uri="{FF2B5EF4-FFF2-40B4-BE49-F238E27FC236}">
                            <a16:creationId xmlns:a16="http://schemas.microsoft.com/office/drawing/2014/main" id="{A0EDF333-95DA-2A6F-F726-4D91807177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2" name="Grafik 21">
            <a:extLst>
              <a:ext uri="{FF2B5EF4-FFF2-40B4-BE49-F238E27FC236}">
                <a16:creationId xmlns:a16="http://schemas.microsoft.com/office/drawing/2014/main" id="{86908430-EE04-8890-932B-850838BE57C4}"/>
              </a:ext>
            </a:extLst>
          </p:cNvPr>
          <p:cNvPicPr>
            <a:picLocks noChangeAspect="1"/>
          </p:cNvPicPr>
          <p:nvPr/>
        </p:nvPicPr>
        <p:blipFill>
          <a:blip r:embed="rId7"/>
          <a:stretch>
            <a:fillRect/>
          </a:stretch>
        </p:blipFill>
        <p:spPr>
          <a:xfrm>
            <a:off x="545963" y="1332457"/>
            <a:ext cx="11356532" cy="3065567"/>
          </a:xfrm>
          <a:prstGeom prst="rect">
            <a:avLst/>
          </a:prstGeom>
        </p:spPr>
      </p:pic>
      <p:sp>
        <p:nvSpPr>
          <p:cNvPr id="23" name="Siebeneck 22">
            <a:extLst>
              <a:ext uri="{FF2B5EF4-FFF2-40B4-BE49-F238E27FC236}">
                <a16:creationId xmlns:a16="http://schemas.microsoft.com/office/drawing/2014/main" id="{2701F4D2-7B89-93D0-4C22-4CF5C6EBEFA4}"/>
              </a:ext>
            </a:extLst>
          </p:cNvPr>
          <p:cNvSpPr>
            <a:spLocks noChangeAspect="1"/>
          </p:cNvSpPr>
          <p:nvPr/>
        </p:nvSpPr>
        <p:spPr>
          <a:xfrm>
            <a:off x="11147889" y="2255892"/>
            <a:ext cx="937486" cy="935131"/>
          </a:xfrm>
          <a:prstGeom prst="heptag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C1D3E"/>
                </a:solidFill>
                <a:effectLst/>
                <a:uLnTx/>
                <a:uFillTx/>
                <a:latin typeface="Arial"/>
                <a:ea typeface="+mn-ea"/>
                <a:cs typeface="+mn-cs"/>
              </a:rPr>
              <a:t>1</a:t>
            </a:r>
          </a:p>
        </p:txBody>
      </p:sp>
      <p:sp>
        <p:nvSpPr>
          <p:cNvPr id="24" name="Siebeneck 23">
            <a:extLst>
              <a:ext uri="{FF2B5EF4-FFF2-40B4-BE49-F238E27FC236}">
                <a16:creationId xmlns:a16="http://schemas.microsoft.com/office/drawing/2014/main" id="{6740AF87-697F-20CC-1C85-E1FC800D5435}"/>
              </a:ext>
            </a:extLst>
          </p:cNvPr>
          <p:cNvSpPr>
            <a:spLocks noChangeAspect="1"/>
          </p:cNvSpPr>
          <p:nvPr/>
        </p:nvSpPr>
        <p:spPr>
          <a:xfrm>
            <a:off x="11137729" y="3200772"/>
            <a:ext cx="937486" cy="935131"/>
          </a:xfrm>
          <a:prstGeom prst="heptag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C1D3E"/>
                </a:solidFill>
                <a:effectLst/>
                <a:uLnTx/>
                <a:uFillTx/>
                <a:latin typeface="Arial"/>
                <a:ea typeface="+mn-ea"/>
                <a:cs typeface="+mn-cs"/>
              </a:rPr>
              <a:t>2</a:t>
            </a:r>
          </a:p>
        </p:txBody>
      </p:sp>
      <p:sp>
        <p:nvSpPr>
          <p:cNvPr id="25" name="Siebeneck 24">
            <a:extLst>
              <a:ext uri="{FF2B5EF4-FFF2-40B4-BE49-F238E27FC236}">
                <a16:creationId xmlns:a16="http://schemas.microsoft.com/office/drawing/2014/main" id="{5DB98187-0974-9DFA-8F74-B36DCCEA97E1}"/>
              </a:ext>
            </a:extLst>
          </p:cNvPr>
          <p:cNvSpPr>
            <a:spLocks noChangeAspect="1"/>
          </p:cNvSpPr>
          <p:nvPr/>
        </p:nvSpPr>
        <p:spPr>
          <a:xfrm>
            <a:off x="1739729" y="1473572"/>
            <a:ext cx="937486" cy="935131"/>
          </a:xfrm>
          <a:prstGeom prst="heptag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C1D3E"/>
                </a:solidFill>
                <a:effectLst/>
                <a:uLnTx/>
                <a:uFillTx/>
                <a:latin typeface="Arial"/>
                <a:ea typeface="+mn-ea"/>
                <a:cs typeface="+mn-cs"/>
              </a:rPr>
              <a:t>3</a:t>
            </a:r>
          </a:p>
        </p:txBody>
      </p:sp>
      <p:sp>
        <p:nvSpPr>
          <p:cNvPr id="26" name="TextBox 16">
            <a:extLst>
              <a:ext uri="{FF2B5EF4-FFF2-40B4-BE49-F238E27FC236}">
                <a16:creationId xmlns:a16="http://schemas.microsoft.com/office/drawing/2014/main" id="{5FFC9A8E-EA9D-1125-AA92-96BAA457BC44}"/>
              </a:ext>
            </a:extLst>
          </p:cNvPr>
          <p:cNvSpPr txBox="1"/>
          <p:nvPr/>
        </p:nvSpPr>
        <p:spPr>
          <a:xfrm>
            <a:off x="720000" y="6166627"/>
            <a:ext cx="11355214" cy="646331"/>
          </a:xfrm>
          <a:prstGeom prst="rect">
            <a:avLst/>
          </a:prstGeom>
          <a:no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C1D3E"/>
                </a:solidFill>
                <a:effectLst/>
                <a:uLnTx/>
                <a:uFillTx/>
                <a:latin typeface="Arial"/>
                <a:ea typeface="+mn-ea"/>
                <a:cs typeface="+mn-cs"/>
              </a:rPr>
              <a:t>Delivered through </a:t>
            </a:r>
            <a:r>
              <a:rPr kumimoji="0" lang="en-GB" sz="1800" b="0" i="0" u="none" strike="noStrike" kern="1200" cap="none" spc="0" normalizeH="0" baseline="0" noProof="0" err="1">
                <a:ln>
                  <a:noFill/>
                </a:ln>
                <a:solidFill>
                  <a:srgbClr val="0C1D3E"/>
                </a:solidFill>
                <a:effectLst/>
                <a:uLnTx/>
                <a:uFillTx/>
                <a:latin typeface="Arial"/>
                <a:ea typeface="+mn-ea"/>
                <a:cs typeface="+mn-cs"/>
              </a:rPr>
              <a:t>Polarion</a:t>
            </a:r>
            <a:r>
              <a:rPr kumimoji="0" lang="en-GB" sz="1800" b="0" i="0" u="none" strike="noStrike" kern="1200" cap="none" spc="0" normalizeH="0" baseline="0" noProof="0">
                <a:ln>
                  <a:noFill/>
                </a:ln>
                <a:solidFill>
                  <a:srgbClr val="0C1D3E"/>
                </a:solidFill>
                <a:effectLst/>
                <a:uLnTx/>
                <a:uFillTx/>
                <a:latin typeface="Arial"/>
                <a:ea typeface="+mn-ea"/>
                <a:cs typeface="+mn-cs"/>
              </a:rPr>
              <a:t> document “SPT4-WP3.1 FDFTO-ERTMS </a:t>
            </a:r>
            <a:r>
              <a:rPr kumimoji="0" lang="en-GB" sz="1800" b="0" i="0" u="none" strike="noStrike" kern="1200" cap="none" spc="0" normalizeH="0" baseline="0" noProof="0" err="1">
                <a:ln>
                  <a:noFill/>
                </a:ln>
                <a:solidFill>
                  <a:srgbClr val="0C1D3E"/>
                </a:solidFill>
                <a:effectLst/>
                <a:uLnTx/>
                <a:uFillTx/>
                <a:latin typeface="Arial"/>
                <a:ea typeface="+mn-ea"/>
                <a:cs typeface="+mn-cs"/>
              </a:rPr>
              <a:t>Trainlength</a:t>
            </a:r>
            <a:r>
              <a:rPr kumimoji="0" lang="en-GB" sz="1800" b="0" i="0" u="none" strike="noStrike" kern="1200" cap="none" spc="0" normalizeH="0" baseline="0" noProof="0">
                <a:ln>
                  <a:noFill/>
                </a:ln>
                <a:solidFill>
                  <a:srgbClr val="0C1D3E"/>
                </a:solidFill>
                <a:effectLst/>
                <a:uLnTx/>
                <a:uFillTx/>
                <a:latin typeface="Arial"/>
                <a:ea typeface="+mn-ea"/>
                <a:cs typeface="+mn-cs"/>
              </a:rPr>
              <a:t>/-integrity” to </a:t>
            </a:r>
            <a:br>
              <a:rPr kumimoji="0" lang="en-GB" sz="1800" b="0" i="0" u="none" strike="noStrike" kern="1200" cap="none" spc="0" normalizeH="0" baseline="0" noProof="0">
                <a:ln>
                  <a:noFill/>
                </a:ln>
                <a:solidFill>
                  <a:srgbClr val="0C1D3E"/>
                </a:solidFill>
                <a:effectLst/>
                <a:uLnTx/>
                <a:uFillTx/>
                <a:latin typeface="Arial"/>
                <a:ea typeface="+mn-ea"/>
                <a:cs typeface="+mn-cs"/>
              </a:rPr>
            </a:br>
            <a:r>
              <a:rPr kumimoji="0" lang="en-GB" sz="1800" b="0" i="0" u="none" strike="noStrike" kern="1200" cap="none" spc="0" normalizeH="0" baseline="0" noProof="0">
                <a:ln>
                  <a:noFill/>
                </a:ln>
                <a:solidFill>
                  <a:srgbClr val="0C1D3E"/>
                </a:solidFill>
                <a:effectLst/>
                <a:uLnTx/>
                <a:uFillTx/>
                <a:latin typeface="Arial"/>
                <a:ea typeface="+mn-ea"/>
                <a:cs typeface="+mn-cs"/>
              </a:rPr>
              <a:t>FP5 TRANS4M-R for consideration</a:t>
            </a:r>
          </a:p>
        </p:txBody>
      </p:sp>
      <p:sp>
        <p:nvSpPr>
          <p:cNvPr id="27" name="TextBox 16">
            <a:extLst>
              <a:ext uri="{FF2B5EF4-FFF2-40B4-BE49-F238E27FC236}">
                <a16:creationId xmlns:a16="http://schemas.microsoft.com/office/drawing/2014/main" id="{FB1C0887-70E7-394F-895B-11EBBA815DB6}"/>
              </a:ext>
            </a:extLst>
          </p:cNvPr>
          <p:cNvSpPr txBox="1"/>
          <p:nvPr/>
        </p:nvSpPr>
        <p:spPr>
          <a:xfrm>
            <a:off x="720001" y="4320000"/>
            <a:ext cx="11472000" cy="1554272"/>
          </a:xfrm>
          <a:prstGeom prst="rect">
            <a:avLst/>
          </a:prstGeom>
          <a:no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800" b="1" i="0" u="sng" strike="noStrike" kern="1200" cap="none" spc="0" normalizeH="0" baseline="0" noProof="0">
                <a:ln>
                  <a:noFill/>
                </a:ln>
                <a:solidFill>
                  <a:srgbClr val="0C1D3E"/>
                </a:solidFill>
                <a:effectLst/>
                <a:uLnTx/>
                <a:uFillTx/>
                <a:latin typeface="Arial"/>
                <a:ea typeface="+mn-ea"/>
                <a:cs typeface="+mn-cs"/>
              </a:rPr>
              <a:t>Basic concept:</a:t>
            </a:r>
          </a:p>
          <a:p>
            <a:pPr marL="2857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C1D3E"/>
                </a:solidFill>
                <a:effectLst/>
                <a:uLnTx/>
                <a:uFillTx/>
                <a:latin typeface="Arial"/>
                <a:ea typeface="+mn-ea"/>
                <a:cs typeface="+mn-cs"/>
              </a:rPr>
              <a:t>In addition to a continuous train integrity monitoring, 2 independent SIL 2 functions shall deliver a safe train length using 2 different type of information </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C1D3E"/>
                </a:solidFill>
                <a:effectLst/>
                <a:uLnTx/>
                <a:uFillTx/>
                <a:latin typeface="Arial"/>
                <a:ea typeface="+mn-ea"/>
                <a:cs typeface="+mn-cs"/>
              </a:rPr>
              <a:t>1 “merging function” (SIL 4) to </a:t>
            </a:r>
            <a:r>
              <a:rPr kumimoji="0" lang="en-US" sz="1800" b="0" i="0" u="none" strike="noStrike" kern="1200" cap="none" spc="0" normalizeH="0" baseline="0" noProof="0">
                <a:ln>
                  <a:noFill/>
                </a:ln>
                <a:solidFill>
                  <a:srgbClr val="0C1D3E"/>
                </a:solidFill>
                <a:effectLst/>
                <a:uLnTx/>
                <a:uFillTx/>
                <a:latin typeface="Arial"/>
                <a:ea typeface="+mn-ea"/>
                <a:cs typeface="+mn-cs"/>
              </a:rPr>
              <a:t>achieve a SIL 4 information to be transferred to the trackside (as foreseen in TSI CCS SS 091 already)</a:t>
            </a:r>
          </a:p>
        </p:txBody>
      </p:sp>
      <p:sp>
        <p:nvSpPr>
          <p:cNvPr id="28" name="Siebeneck 27">
            <a:extLst>
              <a:ext uri="{FF2B5EF4-FFF2-40B4-BE49-F238E27FC236}">
                <a16:creationId xmlns:a16="http://schemas.microsoft.com/office/drawing/2014/main" id="{9DF77E34-CEDD-F9F6-3D6A-62DBCB8D4700}"/>
              </a:ext>
            </a:extLst>
          </p:cNvPr>
          <p:cNvSpPr>
            <a:spLocks noChangeAspect="1"/>
          </p:cNvSpPr>
          <p:nvPr/>
        </p:nvSpPr>
        <p:spPr>
          <a:xfrm>
            <a:off x="5429543" y="4993891"/>
            <a:ext cx="180000" cy="179548"/>
          </a:xfrm>
          <a:prstGeom prst="heptag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C1D3E"/>
                </a:solidFill>
                <a:effectLst/>
                <a:uLnTx/>
                <a:uFillTx/>
                <a:latin typeface="Arial"/>
                <a:ea typeface="+mn-ea"/>
                <a:cs typeface="+mn-cs"/>
              </a:rPr>
              <a:t>1</a:t>
            </a:r>
          </a:p>
        </p:txBody>
      </p:sp>
      <p:sp>
        <p:nvSpPr>
          <p:cNvPr id="29" name="Siebeneck 28">
            <a:extLst>
              <a:ext uri="{FF2B5EF4-FFF2-40B4-BE49-F238E27FC236}">
                <a16:creationId xmlns:a16="http://schemas.microsoft.com/office/drawing/2014/main" id="{981A93EB-3AEF-3E80-0405-ECE70D4EF28A}"/>
              </a:ext>
            </a:extLst>
          </p:cNvPr>
          <p:cNvSpPr>
            <a:spLocks noChangeAspect="1"/>
          </p:cNvSpPr>
          <p:nvPr/>
        </p:nvSpPr>
        <p:spPr>
          <a:xfrm>
            <a:off x="5653063" y="4993891"/>
            <a:ext cx="180000" cy="179548"/>
          </a:xfrm>
          <a:prstGeom prst="heptag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C1D3E"/>
                </a:solidFill>
                <a:effectLst/>
                <a:uLnTx/>
                <a:uFillTx/>
                <a:latin typeface="Arial"/>
                <a:ea typeface="+mn-ea"/>
                <a:cs typeface="+mn-cs"/>
              </a:rPr>
              <a:t>2</a:t>
            </a:r>
          </a:p>
        </p:txBody>
      </p:sp>
      <p:sp>
        <p:nvSpPr>
          <p:cNvPr id="32" name="Siebeneck 31">
            <a:extLst>
              <a:ext uri="{FF2B5EF4-FFF2-40B4-BE49-F238E27FC236}">
                <a16:creationId xmlns:a16="http://schemas.microsoft.com/office/drawing/2014/main" id="{2851DF6C-D79E-E866-D961-A9C22F98ABCA}"/>
              </a:ext>
            </a:extLst>
          </p:cNvPr>
          <p:cNvSpPr>
            <a:spLocks noChangeAspect="1"/>
          </p:cNvSpPr>
          <p:nvPr/>
        </p:nvSpPr>
        <p:spPr>
          <a:xfrm>
            <a:off x="3760085" y="5623807"/>
            <a:ext cx="180000" cy="179548"/>
          </a:xfrm>
          <a:prstGeom prst="heptag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C1D3E"/>
                </a:solidFill>
                <a:effectLst/>
                <a:uLnTx/>
                <a:uFillTx/>
                <a:latin typeface="Arial"/>
                <a:ea typeface="+mn-ea"/>
                <a:cs typeface="+mn-cs"/>
              </a:rPr>
              <a:t>3</a:t>
            </a:r>
          </a:p>
        </p:txBody>
      </p:sp>
      <p:sp>
        <p:nvSpPr>
          <p:cNvPr id="2" name="Titel 4">
            <a:extLst>
              <a:ext uri="{FF2B5EF4-FFF2-40B4-BE49-F238E27FC236}">
                <a16:creationId xmlns:a16="http://schemas.microsoft.com/office/drawing/2014/main" id="{69D1F25A-F311-1CD2-AB2D-F78D8D7B50E3}"/>
              </a:ext>
            </a:extLst>
          </p:cNvPr>
          <p:cNvSpPr>
            <a:spLocks noGrp="1"/>
          </p:cNvSpPr>
          <p:nvPr>
            <p:ph type="title"/>
            <p:custDataLst>
              <p:tags r:id="rId2"/>
            </p:custDataLst>
          </p:nvPr>
        </p:nvSpPr>
        <p:spPr>
          <a:xfrm>
            <a:off x="1785464" y="177679"/>
            <a:ext cx="9568336" cy="684717"/>
          </a:xfrm>
          <a:prstGeom prst="rect">
            <a:avLst/>
          </a:prstGeom>
        </p:spPr>
        <p:txBody>
          <a:bodyPr vert="horz"/>
          <a:lstStyle/>
          <a:p>
            <a:r>
              <a:rPr lang="en-US" sz="2400" b="1">
                <a:solidFill>
                  <a:srgbClr val="132E63"/>
                </a:solidFill>
                <a:latin typeface="Open Sans" panose="020B0606030504020204" pitchFamily="34" charset="0"/>
                <a:ea typeface="Open Sans" panose="020B0606030504020204" pitchFamily="34" charset="0"/>
                <a:cs typeface="Open Sans" panose="020B0606030504020204" pitchFamily="34" charset="0"/>
              </a:rPr>
              <a:t>Recommendation by System Pillar Task 4</a:t>
            </a:r>
          </a:p>
        </p:txBody>
      </p:sp>
    </p:spTree>
    <p:extLst>
      <p:ext uri="{BB962C8B-B14F-4D97-AF65-F5344CB8AC3E}">
        <p14:creationId xmlns:p14="http://schemas.microsoft.com/office/powerpoint/2010/main" val="35341162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4F90A7C-E947-8647-1B73-009D37688F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8" name="think-cell data - do not delete" hidden="1">
                        <a:extLst>
                          <a:ext uri="{FF2B5EF4-FFF2-40B4-BE49-F238E27FC236}">
                            <a16:creationId xmlns:a16="http://schemas.microsoft.com/office/drawing/2014/main" id="{24F90A7C-E947-8647-1B73-009D37688F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Grafik 21">
            <a:extLst>
              <a:ext uri="{FF2B5EF4-FFF2-40B4-BE49-F238E27FC236}">
                <a16:creationId xmlns:a16="http://schemas.microsoft.com/office/drawing/2014/main" id="{86908430-EE04-8890-932B-850838BE57C4}"/>
              </a:ext>
            </a:extLst>
          </p:cNvPr>
          <p:cNvPicPr>
            <a:picLocks noChangeAspect="1"/>
          </p:cNvPicPr>
          <p:nvPr/>
        </p:nvPicPr>
        <p:blipFill>
          <a:blip r:embed="rId6"/>
          <a:stretch>
            <a:fillRect/>
          </a:stretch>
        </p:blipFill>
        <p:spPr>
          <a:xfrm>
            <a:off x="545963" y="1345698"/>
            <a:ext cx="11356532" cy="3065567"/>
          </a:xfrm>
          <a:prstGeom prst="rect">
            <a:avLst/>
          </a:prstGeom>
        </p:spPr>
      </p:pic>
      <p:sp>
        <p:nvSpPr>
          <p:cNvPr id="23" name="Siebeneck 22">
            <a:extLst>
              <a:ext uri="{FF2B5EF4-FFF2-40B4-BE49-F238E27FC236}">
                <a16:creationId xmlns:a16="http://schemas.microsoft.com/office/drawing/2014/main" id="{2701F4D2-7B89-93D0-4C22-4CF5C6EBEFA4}"/>
              </a:ext>
            </a:extLst>
          </p:cNvPr>
          <p:cNvSpPr>
            <a:spLocks noChangeAspect="1"/>
          </p:cNvSpPr>
          <p:nvPr/>
        </p:nvSpPr>
        <p:spPr>
          <a:xfrm>
            <a:off x="11147889" y="2281275"/>
            <a:ext cx="937486" cy="935131"/>
          </a:xfrm>
          <a:prstGeom prst="heptag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C1D3E"/>
                </a:solidFill>
                <a:effectLst/>
                <a:uLnTx/>
                <a:uFillTx/>
                <a:latin typeface="Arial"/>
                <a:ea typeface="+mn-ea"/>
                <a:cs typeface="+mn-cs"/>
              </a:rPr>
              <a:t>1</a:t>
            </a:r>
          </a:p>
        </p:txBody>
      </p:sp>
      <p:sp>
        <p:nvSpPr>
          <p:cNvPr id="25" name="Siebeneck 24">
            <a:extLst>
              <a:ext uri="{FF2B5EF4-FFF2-40B4-BE49-F238E27FC236}">
                <a16:creationId xmlns:a16="http://schemas.microsoft.com/office/drawing/2014/main" id="{5DB98187-0974-9DFA-8F74-B36DCCEA97E1}"/>
              </a:ext>
            </a:extLst>
          </p:cNvPr>
          <p:cNvSpPr>
            <a:spLocks noChangeAspect="1"/>
          </p:cNvSpPr>
          <p:nvPr/>
        </p:nvSpPr>
        <p:spPr>
          <a:xfrm>
            <a:off x="1752429" y="1458315"/>
            <a:ext cx="832021" cy="829931"/>
          </a:xfrm>
          <a:prstGeom prst="heptagon">
            <a:avLst/>
          </a:prstGeom>
          <a:noFill/>
          <a:ln>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prstClr val="white">
                    <a:lumMod val="65000"/>
                  </a:prstClr>
                </a:solidFill>
                <a:effectLst/>
                <a:uLnTx/>
                <a:uFillTx/>
                <a:latin typeface="Arial"/>
                <a:ea typeface="+mn-ea"/>
                <a:cs typeface="+mn-cs"/>
              </a:rPr>
              <a:t>3</a:t>
            </a:r>
          </a:p>
        </p:txBody>
      </p:sp>
      <p:sp>
        <p:nvSpPr>
          <p:cNvPr id="27" name="TextBox 16">
            <a:extLst>
              <a:ext uri="{FF2B5EF4-FFF2-40B4-BE49-F238E27FC236}">
                <a16:creationId xmlns:a16="http://schemas.microsoft.com/office/drawing/2014/main" id="{FB1C0887-70E7-394F-895B-11EBBA815DB6}"/>
              </a:ext>
            </a:extLst>
          </p:cNvPr>
          <p:cNvSpPr txBox="1"/>
          <p:nvPr/>
        </p:nvSpPr>
        <p:spPr>
          <a:xfrm>
            <a:off x="720000" y="4320000"/>
            <a:ext cx="11437545" cy="2246769"/>
          </a:xfrm>
          <a:prstGeom prst="rect">
            <a:avLst/>
          </a:prstGeom>
          <a:no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800" b="1" i="0" u="sng" strike="noStrike" kern="1200" cap="none" spc="0" normalizeH="0" baseline="0" noProof="0">
                <a:ln>
                  <a:noFill/>
                </a:ln>
                <a:solidFill>
                  <a:srgbClr val="0C1D3E"/>
                </a:solidFill>
                <a:effectLst/>
                <a:uLnTx/>
                <a:uFillTx/>
                <a:latin typeface="Arial"/>
                <a:ea typeface="+mn-ea"/>
                <a:cs typeface="+mn-cs"/>
              </a:rPr>
              <a:t>Current concept:</a:t>
            </a:r>
          </a:p>
          <a:p>
            <a:pPr marL="2857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C1D3E"/>
                </a:solidFill>
                <a:effectLst/>
                <a:uLnTx/>
                <a:uFillTx/>
                <a:latin typeface="Arial"/>
                <a:ea typeface="+mn-ea"/>
                <a:cs typeface="+mn-cs"/>
              </a:rPr>
              <a:t>In addition to a continuous train integrity monitoring, only </a:t>
            </a:r>
            <a:r>
              <a:rPr kumimoji="0" lang="en-GB" sz="1600" b="1" i="0" u="none" strike="noStrike" kern="1200" cap="none" spc="0" normalizeH="0" baseline="0" noProof="0">
                <a:ln>
                  <a:noFill/>
                </a:ln>
                <a:solidFill>
                  <a:srgbClr val="0C1D3E"/>
                </a:solidFill>
                <a:effectLst/>
                <a:uLnTx/>
                <a:uFillTx/>
                <a:latin typeface="Arial"/>
                <a:ea typeface="+mn-ea"/>
                <a:cs typeface="+mn-cs"/>
              </a:rPr>
              <a:t>one</a:t>
            </a:r>
            <a:r>
              <a:rPr kumimoji="0" lang="en-GB" sz="1600" b="0" i="0" u="none" strike="noStrike" kern="1200" cap="none" spc="0" normalizeH="0" baseline="0" noProof="0">
                <a:ln>
                  <a:noFill/>
                </a:ln>
                <a:solidFill>
                  <a:srgbClr val="0C1D3E"/>
                </a:solidFill>
                <a:effectLst/>
                <a:uLnTx/>
                <a:uFillTx/>
                <a:latin typeface="Arial"/>
                <a:ea typeface="+mn-ea"/>
                <a:cs typeface="+mn-cs"/>
              </a:rPr>
              <a:t> SIL 2 function delivers a safe train length information </a:t>
            </a:r>
          </a:p>
          <a:p>
            <a:pPr marL="2857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0C1D3E"/>
                </a:solidFill>
                <a:effectLst/>
                <a:uLnTx/>
                <a:uFillTx/>
                <a:latin typeface="Arial"/>
                <a:ea typeface="+mn-ea"/>
                <a:cs typeface="+mn-cs"/>
              </a:rPr>
              <a:t>The “merging function” to </a:t>
            </a:r>
            <a:r>
              <a:rPr kumimoji="0" lang="en-US" sz="1600" b="0" i="0" u="none" strike="noStrike" kern="1200" cap="none" spc="0" normalizeH="0" baseline="0" noProof="0">
                <a:ln>
                  <a:noFill/>
                </a:ln>
                <a:solidFill>
                  <a:srgbClr val="0C1D3E"/>
                </a:solidFill>
                <a:effectLst/>
                <a:uLnTx/>
                <a:uFillTx/>
                <a:latin typeface="Arial"/>
                <a:ea typeface="+mn-ea"/>
                <a:cs typeface="+mn-cs"/>
              </a:rPr>
              <a:t>achieve a SIL 4 information to be transferred to the trackside shall be reached for the “target system” by combining the SIL 2 information provided by the FDFT system with a safe information from the train preparation process (decision also due to limiting the costs per wagon for the FDFT system)</a:t>
            </a:r>
          </a:p>
          <a:p>
            <a:pPr marL="2857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C1D3E"/>
                </a:solidFill>
                <a:effectLst/>
                <a:uLnTx/>
                <a:uFillTx/>
                <a:latin typeface="Arial"/>
                <a:ea typeface="+mn-ea"/>
                <a:cs typeface="+mn-cs"/>
              </a:rPr>
              <a:t>However, the FDFT system architecture, currently being described in FP5 D3.2, does not hinder to integrate a solution with two independent SIL 2 information from the FDFT system. If required, this approach could be developed at later stage, e.g. in FA5 CALL 2.     </a:t>
            </a:r>
            <a:endParaRPr kumimoji="0" lang="en-GB" sz="1800" b="0" i="0" u="none" strike="noStrike" kern="1200" cap="none" spc="0" normalizeH="0" baseline="0" noProof="0">
              <a:ln>
                <a:noFill/>
              </a:ln>
              <a:solidFill>
                <a:srgbClr val="0C1D3E"/>
              </a:solidFill>
              <a:effectLst/>
              <a:uLnTx/>
              <a:uFillTx/>
              <a:latin typeface="Arial"/>
              <a:ea typeface="+mn-ea"/>
              <a:cs typeface="+mn-cs"/>
            </a:endParaRPr>
          </a:p>
        </p:txBody>
      </p:sp>
      <p:sp>
        <p:nvSpPr>
          <p:cNvPr id="28" name="Siebeneck 27">
            <a:extLst>
              <a:ext uri="{FF2B5EF4-FFF2-40B4-BE49-F238E27FC236}">
                <a16:creationId xmlns:a16="http://schemas.microsoft.com/office/drawing/2014/main" id="{9DF77E34-CEDD-F9F6-3D6A-62DBCB8D4700}"/>
              </a:ext>
            </a:extLst>
          </p:cNvPr>
          <p:cNvSpPr>
            <a:spLocks noChangeAspect="1"/>
          </p:cNvSpPr>
          <p:nvPr/>
        </p:nvSpPr>
        <p:spPr>
          <a:xfrm>
            <a:off x="11410964" y="4687213"/>
            <a:ext cx="180000" cy="179548"/>
          </a:xfrm>
          <a:prstGeom prst="heptag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srgbClr val="0C1D3E"/>
                </a:solidFill>
                <a:effectLst/>
                <a:uLnTx/>
                <a:uFillTx/>
                <a:latin typeface="Arial"/>
                <a:ea typeface="+mn-ea"/>
                <a:cs typeface="+mn-cs"/>
              </a:rPr>
              <a:t>1</a:t>
            </a:r>
          </a:p>
        </p:txBody>
      </p:sp>
      <p:sp>
        <p:nvSpPr>
          <p:cNvPr id="32" name="Siebeneck 31">
            <a:extLst>
              <a:ext uri="{FF2B5EF4-FFF2-40B4-BE49-F238E27FC236}">
                <a16:creationId xmlns:a16="http://schemas.microsoft.com/office/drawing/2014/main" id="{2851DF6C-D79E-E866-D961-A9C22F98ABCA}"/>
              </a:ext>
            </a:extLst>
          </p:cNvPr>
          <p:cNvSpPr>
            <a:spLocks noChangeAspect="1"/>
          </p:cNvSpPr>
          <p:nvPr/>
        </p:nvSpPr>
        <p:spPr>
          <a:xfrm>
            <a:off x="9399282" y="5497444"/>
            <a:ext cx="180000" cy="179548"/>
          </a:xfrm>
          <a:prstGeom prst="heptagon">
            <a:avLst/>
          </a:prstGeom>
          <a:noFill/>
          <a:ln>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lumMod val="65000"/>
                  </a:prstClr>
                </a:solidFill>
                <a:effectLst/>
                <a:uLnTx/>
                <a:uFillTx/>
                <a:latin typeface="Arial"/>
                <a:ea typeface="+mn-ea"/>
                <a:cs typeface="+mn-cs"/>
              </a:rPr>
              <a:t>3</a:t>
            </a:r>
          </a:p>
        </p:txBody>
      </p:sp>
      <p:sp>
        <p:nvSpPr>
          <p:cNvPr id="2" name="Siebeneck 1">
            <a:extLst>
              <a:ext uri="{FF2B5EF4-FFF2-40B4-BE49-F238E27FC236}">
                <a16:creationId xmlns:a16="http://schemas.microsoft.com/office/drawing/2014/main" id="{6C0C7CCE-1863-3AE9-8E1C-B8546017C3C7}"/>
              </a:ext>
            </a:extLst>
          </p:cNvPr>
          <p:cNvSpPr>
            <a:spLocks noChangeAspect="1"/>
          </p:cNvSpPr>
          <p:nvPr/>
        </p:nvSpPr>
        <p:spPr>
          <a:xfrm>
            <a:off x="11137729" y="3256635"/>
            <a:ext cx="937486" cy="935131"/>
          </a:xfrm>
          <a:prstGeom prst="heptagon">
            <a:avLst/>
          </a:prstGeom>
          <a:noFill/>
          <a:ln>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prstClr val="white">
                    <a:lumMod val="65000"/>
                  </a:prstClr>
                </a:solidFill>
                <a:effectLst/>
                <a:uLnTx/>
                <a:uFillTx/>
                <a:latin typeface="Arial"/>
                <a:ea typeface="+mn-ea"/>
                <a:cs typeface="+mn-cs"/>
              </a:rPr>
              <a:t>2</a:t>
            </a:r>
          </a:p>
        </p:txBody>
      </p:sp>
      <p:sp>
        <p:nvSpPr>
          <p:cNvPr id="3" name="Siebeneck 2">
            <a:extLst>
              <a:ext uri="{FF2B5EF4-FFF2-40B4-BE49-F238E27FC236}">
                <a16:creationId xmlns:a16="http://schemas.microsoft.com/office/drawing/2014/main" id="{942E8A20-0AAD-65D6-20B9-16E426D20B2E}"/>
              </a:ext>
            </a:extLst>
          </p:cNvPr>
          <p:cNvSpPr>
            <a:spLocks noChangeAspect="1"/>
          </p:cNvSpPr>
          <p:nvPr/>
        </p:nvSpPr>
        <p:spPr>
          <a:xfrm>
            <a:off x="3573946" y="6297948"/>
            <a:ext cx="180000" cy="179548"/>
          </a:xfrm>
          <a:prstGeom prst="heptagon">
            <a:avLst/>
          </a:prstGeom>
          <a:noFill/>
          <a:ln>
            <a:prstDash val="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lumMod val="65000"/>
                  </a:prstClr>
                </a:solidFill>
                <a:effectLst/>
                <a:uLnTx/>
                <a:uFillTx/>
                <a:latin typeface="Arial"/>
                <a:ea typeface="+mn-ea"/>
                <a:cs typeface="+mn-cs"/>
              </a:rPr>
              <a:t>2</a:t>
            </a:r>
          </a:p>
        </p:txBody>
      </p:sp>
      <p:sp>
        <p:nvSpPr>
          <p:cNvPr id="4" name="Rechteck 3">
            <a:extLst>
              <a:ext uri="{FF2B5EF4-FFF2-40B4-BE49-F238E27FC236}">
                <a16:creationId xmlns:a16="http://schemas.microsoft.com/office/drawing/2014/main" id="{ED9BCABF-F47B-5BE5-BB0F-B647B127CD93}"/>
              </a:ext>
            </a:extLst>
          </p:cNvPr>
          <p:cNvSpPr/>
          <p:nvPr/>
        </p:nvSpPr>
        <p:spPr>
          <a:xfrm>
            <a:off x="2011680" y="3256635"/>
            <a:ext cx="9042400" cy="935131"/>
          </a:xfrm>
          <a:prstGeom prst="rect">
            <a:avLst/>
          </a:prstGeom>
          <a:solidFill>
            <a:schemeClr val="bg1">
              <a:lumMod val="65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16">
            <a:extLst>
              <a:ext uri="{FF2B5EF4-FFF2-40B4-BE49-F238E27FC236}">
                <a16:creationId xmlns:a16="http://schemas.microsoft.com/office/drawing/2014/main" id="{04A9F256-654C-677D-491E-206DE0E01FC4}"/>
              </a:ext>
            </a:extLst>
          </p:cNvPr>
          <p:cNvSpPr txBox="1"/>
          <p:nvPr/>
        </p:nvSpPr>
        <p:spPr>
          <a:xfrm>
            <a:off x="720000" y="1125676"/>
            <a:ext cx="11015958" cy="338554"/>
          </a:xfrm>
          <a:prstGeom prst="rect">
            <a:avLst/>
          </a:prstGeom>
          <a:no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C1D3E"/>
                </a:solidFill>
                <a:effectLst/>
                <a:uLnTx/>
                <a:uFillTx/>
                <a:latin typeface="Arial"/>
                <a:ea typeface="+mn-ea"/>
                <a:cs typeface="+mn-cs"/>
              </a:rPr>
              <a:t>Considering the high time pressure on pre-deployment trains, FP5 decided to concentrate on the following solution:</a:t>
            </a:r>
          </a:p>
        </p:txBody>
      </p:sp>
      <p:sp>
        <p:nvSpPr>
          <p:cNvPr id="6" name="Titel 4">
            <a:extLst>
              <a:ext uri="{FF2B5EF4-FFF2-40B4-BE49-F238E27FC236}">
                <a16:creationId xmlns:a16="http://schemas.microsoft.com/office/drawing/2014/main" id="{444951CB-3EA7-B216-A646-DA24459CF5D8}"/>
              </a:ext>
            </a:extLst>
          </p:cNvPr>
          <p:cNvSpPr>
            <a:spLocks noGrp="1"/>
          </p:cNvSpPr>
          <p:nvPr>
            <p:ph type="title"/>
            <p:custDataLst>
              <p:tags r:id="rId2"/>
            </p:custDataLst>
          </p:nvPr>
        </p:nvSpPr>
        <p:spPr>
          <a:xfrm>
            <a:off x="1785464" y="322644"/>
            <a:ext cx="7860341" cy="684717"/>
          </a:xfrm>
          <a:prstGeom prst="rect">
            <a:avLst/>
          </a:prstGeom>
        </p:spPr>
        <p:txBody>
          <a:bodyPr vert="horz">
            <a:normAutofit fontScale="90000"/>
          </a:bodyPr>
          <a:lstStyle/>
          <a:p>
            <a:r>
              <a:rPr lang="en-US" sz="2400" b="1">
                <a:solidFill>
                  <a:srgbClr val="132E63"/>
                </a:solidFill>
                <a:latin typeface="Open Sans" panose="020B0606030504020204" pitchFamily="34" charset="0"/>
                <a:ea typeface="Open Sans" panose="020B0606030504020204" pitchFamily="34" charset="0"/>
                <a:cs typeface="Open Sans" panose="020B0606030504020204" pitchFamily="34" charset="0"/>
              </a:rPr>
              <a:t>Current state of play in FP5 TRANS4M-R – </a:t>
            </a:r>
            <a:r>
              <a:rPr lang="en-US" sz="2400" b="1" err="1">
                <a:solidFill>
                  <a:srgbClr val="132E63"/>
                </a:solidFill>
                <a:latin typeface="Open Sans" panose="020B0606030504020204" pitchFamily="34" charset="0"/>
                <a:ea typeface="Open Sans" panose="020B0606030504020204" pitchFamily="34" charset="0"/>
                <a:cs typeface="Open Sans" panose="020B0606030504020204" pitchFamily="34" charset="0"/>
              </a:rPr>
              <a:t>realisation</a:t>
            </a:r>
            <a:r>
              <a:rPr lang="en-US" sz="2400" b="1">
                <a:solidFill>
                  <a:srgbClr val="132E63"/>
                </a:solidFill>
                <a:latin typeface="Open Sans" panose="020B0606030504020204" pitchFamily="34" charset="0"/>
                <a:ea typeface="Open Sans" panose="020B0606030504020204" pitchFamily="34" charset="0"/>
                <a:cs typeface="Open Sans" panose="020B0606030504020204" pitchFamily="34" charset="0"/>
              </a:rPr>
              <a:t> for “basic package” (= start of pre-deployment)</a:t>
            </a:r>
          </a:p>
        </p:txBody>
      </p:sp>
      <p:sp>
        <p:nvSpPr>
          <p:cNvPr id="10" name="Runde Klammer links/rechts 9">
            <a:extLst>
              <a:ext uri="{FF2B5EF4-FFF2-40B4-BE49-F238E27FC236}">
                <a16:creationId xmlns:a16="http://schemas.microsoft.com/office/drawing/2014/main" id="{E56EA698-687C-A2DA-FDF5-465B50A47CCC}"/>
              </a:ext>
            </a:extLst>
          </p:cNvPr>
          <p:cNvSpPr/>
          <p:nvPr/>
        </p:nvSpPr>
        <p:spPr>
          <a:xfrm>
            <a:off x="1689100" y="1414403"/>
            <a:ext cx="937486" cy="1728000"/>
          </a:xfrm>
          <a:prstGeom prst="bracketPair">
            <a:avLst/>
          </a:prstGeom>
          <a:solidFill>
            <a:schemeClr val="bg1">
              <a:lumMod val="65000"/>
              <a:alpha val="7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808005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00981A-170F-6D85-D1D1-5D3DB98236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5" name="think-cell data - do not delete" hidden="1">
                        <a:extLst>
                          <a:ext uri="{FF2B5EF4-FFF2-40B4-BE49-F238E27FC236}">
                            <a16:creationId xmlns:a16="http://schemas.microsoft.com/office/drawing/2014/main" id="{9A00981A-170F-6D85-D1D1-5D3DB98236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BBB78FF3-60FE-5DE5-D39C-902AC168B7BE}"/>
              </a:ext>
            </a:extLst>
          </p:cNvPr>
          <p:cNvSpPr txBox="1"/>
          <p:nvPr/>
        </p:nvSpPr>
        <p:spPr>
          <a:xfrm>
            <a:off x="720000" y="1216224"/>
            <a:ext cx="11167261" cy="453970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C1D3E"/>
                </a:solidFill>
                <a:effectLst/>
                <a:uLnTx/>
                <a:uFillTx/>
                <a:latin typeface="Arial"/>
                <a:ea typeface="+mn-ea"/>
                <a:cs typeface="+mn-cs"/>
              </a:rPr>
              <a:t>Flagship </a:t>
            </a:r>
            <a:r>
              <a:rPr kumimoji="0" lang="en-US" sz="2400" b="1" i="0" u="sng" strike="noStrike" kern="1200" cap="none" spc="0" normalizeH="0" baseline="0" noProof="0">
                <a:ln>
                  <a:noFill/>
                </a:ln>
                <a:solidFill>
                  <a:srgbClr val="0C1D3E"/>
                </a:solidFill>
                <a:effectLst/>
                <a:uLnTx/>
                <a:uFillTx/>
                <a:latin typeface="Arial"/>
                <a:ea typeface="+mn-ea"/>
                <a:cs typeface="+mn-cs"/>
              </a:rPr>
              <a:t>Area</a:t>
            </a:r>
            <a:r>
              <a:rPr kumimoji="0" lang="en-US" sz="2400" b="1" i="0" u="none" strike="noStrike" kern="1200" cap="none" spc="0" normalizeH="0" baseline="0" noProof="0">
                <a:ln>
                  <a:noFill/>
                </a:ln>
                <a:solidFill>
                  <a:srgbClr val="0C1D3E"/>
                </a:solidFill>
                <a:effectLst/>
                <a:uLnTx/>
                <a:uFillTx/>
                <a:latin typeface="Arial"/>
                <a:ea typeface="+mn-ea"/>
                <a:cs typeface="+mn-cs"/>
              </a:rPr>
              <a:t> 5 </a:t>
            </a:r>
            <a:r>
              <a:rPr kumimoji="0" lang="en-US" sz="2400" b="0" i="0" u="none" strike="noStrike" kern="1200" cap="none" spc="0" normalizeH="0" baseline="0" noProof="0">
                <a:ln>
                  <a:noFill/>
                </a:ln>
                <a:solidFill>
                  <a:srgbClr val="0C1D3E"/>
                </a:solidFill>
                <a:effectLst/>
                <a:uLnTx/>
                <a:uFillTx/>
                <a:latin typeface="Arial"/>
                <a:ea typeface="+mn-ea"/>
                <a:cs typeface="+mn-cs"/>
              </a:rPr>
              <a:t>is responsible to deliver a SIL 4 safe train length information to </a:t>
            </a:r>
            <a:r>
              <a:rPr kumimoji="0" lang="en-US" sz="2400" b="1" i="0" u="none" strike="noStrike" kern="1200" cap="none" spc="0" normalizeH="0" baseline="0" noProof="0">
                <a:ln>
                  <a:noFill/>
                </a:ln>
                <a:solidFill>
                  <a:srgbClr val="0C1D3E"/>
                </a:solidFill>
                <a:effectLst/>
                <a:uLnTx/>
                <a:uFillTx/>
                <a:latin typeface="Arial"/>
                <a:ea typeface="+mn-ea"/>
                <a:cs typeface="+mn-cs"/>
              </a:rPr>
              <a:t>enable ETCS moving block (and L2 hybrid).</a:t>
            </a:r>
            <a:endParaRPr kumimoji="0" lang="en-US" sz="2400" b="0" i="0" u="none" strike="noStrike" kern="1200" cap="none" spc="0" normalizeH="0" baseline="0" noProof="0">
              <a:ln>
                <a:noFill/>
              </a:ln>
              <a:solidFill>
                <a:srgbClr val="0C1D3E"/>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C1D3E"/>
                </a:solidFill>
                <a:effectLst/>
                <a:uLnTx/>
                <a:uFillTx/>
                <a:latin typeface="Arial"/>
                <a:ea typeface="+mn-ea"/>
                <a:cs typeface="+mn-cs"/>
              </a:rPr>
              <a:t>Common final target is to have a fully automated FDFTO system, </a:t>
            </a:r>
            <a:r>
              <a:rPr kumimoji="0" lang="en-US" sz="2400" b="0" i="0" u="none" strike="noStrike" kern="1200" cap="none" spc="0" normalizeH="0" baseline="0" noProof="0">
                <a:ln>
                  <a:noFill/>
                </a:ln>
                <a:solidFill>
                  <a:srgbClr val="0C1D3E"/>
                </a:solidFill>
                <a:effectLst/>
                <a:uLnTx/>
                <a:uFillTx/>
                <a:latin typeface="Arial"/>
                <a:ea typeface="+mn-ea"/>
                <a:cs typeface="+mn-cs"/>
              </a:rPr>
              <a:t>therefore it is agreed, that in the end not to involve the driver in safety-related function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C1D3E"/>
                </a:solidFill>
                <a:effectLst/>
                <a:uLnTx/>
                <a:uFillTx/>
                <a:latin typeface="Arial"/>
                <a:ea typeface="+mn-ea"/>
                <a:cs typeface="+mn-cs"/>
              </a:rPr>
              <a:t>For the start of the pre-deployment, FP5 TRANS4M-R will </a:t>
            </a:r>
            <a:r>
              <a:rPr kumimoji="0" lang="en-US" sz="2400" b="0" i="0" u="none" strike="noStrike" kern="1200" cap="none" spc="0" normalizeH="0" baseline="0" noProof="0" err="1">
                <a:ln>
                  <a:noFill/>
                </a:ln>
                <a:solidFill>
                  <a:srgbClr val="0C1D3E"/>
                </a:solidFill>
                <a:effectLst/>
                <a:uLnTx/>
                <a:uFillTx/>
                <a:latin typeface="Arial"/>
                <a:ea typeface="+mn-ea"/>
                <a:cs typeface="+mn-cs"/>
              </a:rPr>
              <a:t>realise</a:t>
            </a:r>
            <a:r>
              <a:rPr kumimoji="0" lang="en-US" sz="2400" b="0" i="0" u="none" strike="noStrike" kern="1200" cap="none" spc="0" normalizeH="0" baseline="0" noProof="0">
                <a:ln>
                  <a:noFill/>
                </a:ln>
                <a:solidFill>
                  <a:srgbClr val="0C1D3E"/>
                </a:solidFill>
                <a:effectLst/>
                <a:uLnTx/>
                <a:uFillTx/>
                <a:latin typeface="Arial"/>
                <a:ea typeface="+mn-ea"/>
                <a:cs typeface="+mn-cs"/>
              </a:rPr>
              <a:t> one SIL 2 channel delivering a safe train length information (see slide befor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C1D3E"/>
                </a:solidFill>
                <a:effectLst/>
                <a:uLnTx/>
                <a:uFillTx/>
                <a:latin typeface="Arial"/>
                <a:ea typeface="+mn-ea"/>
                <a:cs typeface="+mn-cs"/>
              </a:rPr>
              <a:t>In parallel, 2 alternatives are further evaluated for the “target system” to provide a second SIL 2 information to be sent to the “merging function”</a:t>
            </a:r>
          </a:p>
          <a:p>
            <a:pPr marL="714375" marR="0" lvl="1" indent="-4572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2400" b="0" i="0" u="none" strike="noStrike" kern="1200" cap="none" spc="0" normalizeH="0" baseline="0" noProof="0">
                <a:ln>
                  <a:noFill/>
                </a:ln>
                <a:solidFill>
                  <a:srgbClr val="0C1D3E"/>
                </a:solidFill>
                <a:effectLst/>
                <a:uLnTx/>
                <a:uFillTx/>
                <a:latin typeface="Arial"/>
                <a:ea typeface="+mn-ea"/>
                <a:cs typeface="+mn-cs"/>
              </a:rPr>
              <a:t>The 2-channel in-train solution recommended by SP Task 4</a:t>
            </a:r>
          </a:p>
          <a:p>
            <a:pPr marL="714375" marR="0" lvl="1" indent="-4572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2400" b="0" i="0" u="none" strike="noStrike" kern="1200" cap="none" spc="0" normalizeH="0" baseline="0" noProof="0">
                <a:ln>
                  <a:noFill/>
                </a:ln>
                <a:solidFill>
                  <a:srgbClr val="0C1D3E"/>
                </a:solidFill>
                <a:effectLst/>
                <a:uLnTx/>
                <a:uFillTx/>
                <a:latin typeface="Arial"/>
                <a:ea typeface="+mn-ea"/>
                <a:cs typeface="+mn-cs"/>
              </a:rPr>
              <a:t>FDFT onboard or TCMS (both SIL 2) to receive from FDFT backend a parallel independent safe train length information </a:t>
            </a:r>
          </a:p>
        </p:txBody>
      </p:sp>
      <p:sp>
        <p:nvSpPr>
          <p:cNvPr id="2" name="Titel 4">
            <a:extLst>
              <a:ext uri="{FF2B5EF4-FFF2-40B4-BE49-F238E27FC236}">
                <a16:creationId xmlns:a16="http://schemas.microsoft.com/office/drawing/2014/main" id="{7F482AF4-E057-D977-37BD-F259283BC933}"/>
              </a:ext>
            </a:extLst>
          </p:cNvPr>
          <p:cNvSpPr>
            <a:spLocks noGrp="1"/>
          </p:cNvSpPr>
          <p:nvPr>
            <p:ph type="title"/>
            <p:custDataLst>
              <p:tags r:id="rId2"/>
            </p:custDataLst>
          </p:nvPr>
        </p:nvSpPr>
        <p:spPr>
          <a:xfrm>
            <a:off x="1785464" y="177679"/>
            <a:ext cx="9568336" cy="684717"/>
          </a:xfrm>
          <a:prstGeom prst="rect">
            <a:avLst/>
          </a:prstGeom>
        </p:spPr>
        <p:txBody>
          <a:bodyPr vert="horz">
            <a:normAutofit/>
          </a:bodyPr>
          <a:lstStyle/>
          <a:p>
            <a:r>
              <a:rPr lang="en-US" sz="2400" b="1">
                <a:solidFill>
                  <a:srgbClr val="132E63"/>
                </a:solidFill>
                <a:latin typeface="Open Sans" panose="020B0606030504020204" pitchFamily="34" charset="0"/>
                <a:ea typeface="Open Sans" panose="020B0606030504020204" pitchFamily="34" charset="0"/>
                <a:cs typeface="Open Sans" panose="020B0606030504020204" pitchFamily="34" charset="0"/>
              </a:rPr>
              <a:t>Common understanding System Pillar / FP5</a:t>
            </a:r>
          </a:p>
        </p:txBody>
      </p:sp>
    </p:spTree>
    <p:extLst>
      <p:ext uri="{BB962C8B-B14F-4D97-AF65-F5344CB8AC3E}">
        <p14:creationId xmlns:p14="http://schemas.microsoft.com/office/powerpoint/2010/main" val="8775262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3B118E0-38F8-D3AC-C0AF-BEDD735211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7" name="think-cell data - do not delete" hidden="1">
                        <a:extLst>
                          <a:ext uri="{FF2B5EF4-FFF2-40B4-BE49-F238E27FC236}">
                            <a16:creationId xmlns:a16="http://schemas.microsoft.com/office/drawing/2014/main" id="{23B118E0-38F8-D3AC-C0AF-BEDD735211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Grafik 21">
            <a:extLst>
              <a:ext uri="{FF2B5EF4-FFF2-40B4-BE49-F238E27FC236}">
                <a16:creationId xmlns:a16="http://schemas.microsoft.com/office/drawing/2014/main" id="{86908430-EE04-8890-932B-850838BE57C4}"/>
              </a:ext>
            </a:extLst>
          </p:cNvPr>
          <p:cNvPicPr>
            <a:picLocks noChangeAspect="1"/>
          </p:cNvPicPr>
          <p:nvPr/>
        </p:nvPicPr>
        <p:blipFill>
          <a:blip r:embed="rId6"/>
          <a:stretch>
            <a:fillRect/>
          </a:stretch>
        </p:blipFill>
        <p:spPr>
          <a:xfrm>
            <a:off x="545963" y="1368000"/>
            <a:ext cx="11356532" cy="3065567"/>
          </a:xfrm>
          <a:prstGeom prst="rect">
            <a:avLst/>
          </a:prstGeom>
        </p:spPr>
      </p:pic>
      <p:sp>
        <p:nvSpPr>
          <p:cNvPr id="4" name="Rechteck 3">
            <a:extLst>
              <a:ext uri="{FF2B5EF4-FFF2-40B4-BE49-F238E27FC236}">
                <a16:creationId xmlns:a16="http://schemas.microsoft.com/office/drawing/2014/main" id="{ED9BCABF-F47B-5BE5-BB0F-B647B127CD93}"/>
              </a:ext>
            </a:extLst>
          </p:cNvPr>
          <p:cNvSpPr/>
          <p:nvPr/>
        </p:nvSpPr>
        <p:spPr>
          <a:xfrm>
            <a:off x="545963" y="3094075"/>
            <a:ext cx="11147686" cy="11768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Rechteck 4">
            <a:extLst>
              <a:ext uri="{FF2B5EF4-FFF2-40B4-BE49-F238E27FC236}">
                <a16:creationId xmlns:a16="http://schemas.microsoft.com/office/drawing/2014/main" id="{FBF0C97B-F5D3-0DC5-646F-01D90CEB1DBE}"/>
              </a:ext>
            </a:extLst>
          </p:cNvPr>
          <p:cNvSpPr/>
          <p:nvPr/>
        </p:nvSpPr>
        <p:spPr>
          <a:xfrm>
            <a:off x="2677215" y="1913888"/>
            <a:ext cx="8968822" cy="12457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Rechteck 5">
            <a:extLst>
              <a:ext uri="{FF2B5EF4-FFF2-40B4-BE49-F238E27FC236}">
                <a16:creationId xmlns:a16="http://schemas.microsoft.com/office/drawing/2014/main" id="{39EB6A4B-148C-B8E9-6EB7-1142E788F5C1}"/>
              </a:ext>
            </a:extLst>
          </p:cNvPr>
          <p:cNvSpPr/>
          <p:nvPr/>
        </p:nvSpPr>
        <p:spPr>
          <a:xfrm>
            <a:off x="708544" y="1392996"/>
            <a:ext cx="3274176" cy="7226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Siebeneck 24">
            <a:extLst>
              <a:ext uri="{FF2B5EF4-FFF2-40B4-BE49-F238E27FC236}">
                <a16:creationId xmlns:a16="http://schemas.microsoft.com/office/drawing/2014/main" id="{5DB98187-0974-9DFA-8F74-B36DCCEA97E1}"/>
              </a:ext>
            </a:extLst>
          </p:cNvPr>
          <p:cNvSpPr>
            <a:spLocks noChangeAspect="1"/>
          </p:cNvSpPr>
          <p:nvPr/>
        </p:nvSpPr>
        <p:spPr>
          <a:xfrm>
            <a:off x="1739729" y="1458315"/>
            <a:ext cx="937486" cy="935131"/>
          </a:xfrm>
          <a:prstGeom prst="heptagon">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C1D3E"/>
                </a:solidFill>
                <a:effectLst/>
                <a:uLnTx/>
                <a:uFillTx/>
                <a:latin typeface="Arial"/>
                <a:ea typeface="+mn-ea"/>
                <a:cs typeface="+mn-cs"/>
              </a:rPr>
              <a:t>3</a:t>
            </a:r>
          </a:p>
        </p:txBody>
      </p:sp>
      <p:sp>
        <p:nvSpPr>
          <p:cNvPr id="9" name="Titel 4">
            <a:extLst>
              <a:ext uri="{FF2B5EF4-FFF2-40B4-BE49-F238E27FC236}">
                <a16:creationId xmlns:a16="http://schemas.microsoft.com/office/drawing/2014/main" id="{984AF4C0-FA64-42FF-D60C-C09DD2BB7E04}"/>
              </a:ext>
            </a:extLst>
          </p:cNvPr>
          <p:cNvSpPr txBox="1">
            <a:spLocks/>
          </p:cNvSpPr>
          <p:nvPr>
            <p:custDataLst>
              <p:tags r:id="rId2"/>
            </p:custDataLst>
          </p:nvPr>
        </p:nvSpPr>
        <p:spPr>
          <a:xfrm>
            <a:off x="1785464" y="322644"/>
            <a:ext cx="7860341" cy="684717"/>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132E63"/>
                </a:solidFill>
                <a:effectLst/>
                <a:uLnTx/>
                <a:uFillTx/>
                <a:latin typeface="Open Sans" panose="020B0606030504020204" pitchFamily="34" charset="0"/>
                <a:ea typeface="Open Sans" panose="020B0606030504020204" pitchFamily="34" charset="0"/>
                <a:cs typeface="Open Sans" panose="020B0606030504020204" pitchFamily="34" charset="0"/>
              </a:rPr>
              <a:t>Planning of System Pillar Task 2 and FP2 R2DATO to </a:t>
            </a:r>
            <a:r>
              <a:rPr kumimoji="0" lang="en-US" sz="2400" b="1" i="0" u="none" strike="noStrike" kern="1200" cap="none" spc="0" normalizeH="0" baseline="0" noProof="0" err="1">
                <a:ln>
                  <a:noFill/>
                </a:ln>
                <a:solidFill>
                  <a:srgbClr val="132E63"/>
                </a:solidFill>
                <a:effectLst/>
                <a:uLnTx/>
                <a:uFillTx/>
                <a:latin typeface="Open Sans" panose="020B0606030504020204" pitchFamily="34" charset="0"/>
                <a:ea typeface="Open Sans" panose="020B0606030504020204" pitchFamily="34" charset="0"/>
                <a:cs typeface="Open Sans" panose="020B0606030504020204" pitchFamily="34" charset="0"/>
              </a:rPr>
              <a:t>realise</a:t>
            </a:r>
            <a:r>
              <a:rPr kumimoji="0" lang="en-US" sz="2400" b="1" i="0" u="none" strike="noStrike" kern="1200" cap="none" spc="0" normalizeH="0" baseline="0" noProof="0">
                <a:ln>
                  <a:noFill/>
                </a:ln>
                <a:solidFill>
                  <a:srgbClr val="132E63"/>
                </a:solidFill>
                <a:effectLst/>
                <a:uLnTx/>
                <a:uFillTx/>
                <a:latin typeface="Open Sans" panose="020B0606030504020204" pitchFamily="34" charset="0"/>
                <a:ea typeface="Open Sans" panose="020B0606030504020204" pitchFamily="34" charset="0"/>
                <a:cs typeface="Open Sans" panose="020B0606030504020204" pitchFamily="34" charset="0"/>
              </a:rPr>
              <a:t> the “merging function” </a:t>
            </a:r>
          </a:p>
        </p:txBody>
      </p:sp>
      <p:sp>
        <p:nvSpPr>
          <p:cNvPr id="27" name="TextBox 16">
            <a:extLst>
              <a:ext uri="{FF2B5EF4-FFF2-40B4-BE49-F238E27FC236}">
                <a16:creationId xmlns:a16="http://schemas.microsoft.com/office/drawing/2014/main" id="{FB1C0887-70E7-394F-895B-11EBBA815DB6}"/>
              </a:ext>
            </a:extLst>
          </p:cNvPr>
          <p:cNvSpPr txBox="1"/>
          <p:nvPr/>
        </p:nvSpPr>
        <p:spPr>
          <a:xfrm>
            <a:off x="720000" y="3662078"/>
            <a:ext cx="11437545" cy="1908215"/>
          </a:xfrm>
          <a:prstGeom prst="rect">
            <a:avLst/>
          </a:prstGeom>
          <a:no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800" b="1" i="0" u="sng" strike="noStrike" kern="1200" cap="none" spc="0" normalizeH="0" baseline="0" noProof="0">
                <a:ln>
                  <a:noFill/>
                </a:ln>
                <a:solidFill>
                  <a:srgbClr val="0C1D3E"/>
                </a:solidFill>
                <a:effectLst/>
                <a:uLnTx/>
                <a:uFillTx/>
                <a:latin typeface="Arial"/>
                <a:ea typeface="+mn-ea"/>
                <a:cs typeface="+mn-cs"/>
              </a:rPr>
              <a:t>Current planning:</a:t>
            </a:r>
          </a:p>
          <a:p>
            <a:pPr marL="2857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C1D3E"/>
                </a:solidFill>
                <a:effectLst/>
                <a:uLnTx/>
                <a:uFillTx/>
                <a:latin typeface="Arial"/>
                <a:ea typeface="+mn-ea"/>
                <a:cs typeface="+mn-cs"/>
              </a:rPr>
              <a:t>Task 2 (in close cooperation with FP2, Task 4 and FP5) will issue a CR to include the “merging function” into the CCS onboard unit by September 2024</a:t>
            </a:r>
          </a:p>
          <a:p>
            <a:pPr marL="2857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C1D3E"/>
                </a:solidFill>
                <a:effectLst/>
                <a:uLnTx/>
                <a:uFillTx/>
                <a:latin typeface="Arial"/>
                <a:ea typeface="+mn-ea"/>
                <a:cs typeface="+mn-cs"/>
              </a:rPr>
              <a:t>Adaptation and entering into force of TSI CCS expected by 2027</a:t>
            </a:r>
          </a:p>
          <a:p>
            <a:pPr marL="2857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C1D3E"/>
                </a:solidFill>
                <a:effectLst/>
                <a:uLnTx/>
                <a:uFillTx/>
                <a:latin typeface="Arial"/>
                <a:ea typeface="+mn-ea"/>
                <a:cs typeface="+mn-cs"/>
              </a:rPr>
              <a:t>FP2 R2DATO to provide an onboard unit merging </a:t>
            </a:r>
            <a:r>
              <a:rPr kumimoji="0" lang="en-US" sz="1800" b="0" i="0" u="none" strike="noStrike" kern="1200" cap="none" spc="0" normalizeH="0" baseline="0" noProof="0">
                <a:ln>
                  <a:noFill/>
                </a:ln>
                <a:solidFill>
                  <a:srgbClr val="0C1D3E"/>
                </a:solidFill>
                <a:effectLst/>
                <a:uLnTx/>
                <a:uFillTx/>
                <a:latin typeface="Arial"/>
                <a:ea typeface="+mn-ea"/>
                <a:cs typeface="+mn-cs"/>
              </a:rPr>
              <a:t>2 independent SIL 2 functions of safe train length (provided by FA5) by 2026</a:t>
            </a:r>
            <a:endParaRPr kumimoji="0" lang="en-GB" sz="1800" b="0" i="0" u="none" strike="noStrike" kern="1200" cap="none" spc="0" normalizeH="0" baseline="0" noProof="0">
              <a:ln>
                <a:noFill/>
              </a:ln>
              <a:solidFill>
                <a:srgbClr val="0C1D3E"/>
              </a:solidFill>
              <a:effectLst/>
              <a:uLnTx/>
              <a:uFillTx/>
              <a:latin typeface="Arial"/>
              <a:ea typeface="+mn-ea"/>
              <a:cs typeface="+mn-cs"/>
            </a:endParaRPr>
          </a:p>
        </p:txBody>
      </p:sp>
    </p:spTree>
    <p:extLst>
      <p:ext uri="{BB962C8B-B14F-4D97-AF65-F5344CB8AC3E}">
        <p14:creationId xmlns:p14="http://schemas.microsoft.com/office/powerpoint/2010/main" val="34417148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441728E-F287-094E-D610-47B62C0596DF}"/>
              </a:ext>
            </a:extLst>
          </p:cNvPr>
          <p:cNvSpPr>
            <a:spLocks noGrp="1"/>
          </p:cNvSpPr>
          <p:nvPr>
            <p:ph type="body" sz="quarter" idx="10"/>
          </p:nvPr>
        </p:nvSpPr>
        <p:spPr>
          <a:xfrm>
            <a:off x="2853531" y="2444696"/>
            <a:ext cx="6484937" cy="1053089"/>
          </a:xfrm>
        </p:spPr>
        <p:txBody>
          <a:bodyPr lIns="91440" tIns="45720" rIns="91440" bIns="45720" anchor="t">
            <a:normAutofit/>
          </a:bodyPr>
          <a:lstStyle/>
          <a:p>
            <a:r>
              <a:rPr lang="en-GB" sz="3600">
                <a:solidFill>
                  <a:schemeClr val="tx2"/>
                </a:solidFill>
                <a:cs typeface="Arial"/>
              </a:rPr>
              <a:t>Other interactions ?</a:t>
            </a:r>
          </a:p>
          <a:p>
            <a:endParaRPr lang="en-US" sz="3600"/>
          </a:p>
        </p:txBody>
      </p:sp>
    </p:spTree>
    <p:extLst>
      <p:ext uri="{BB962C8B-B14F-4D97-AF65-F5344CB8AC3E}">
        <p14:creationId xmlns:p14="http://schemas.microsoft.com/office/powerpoint/2010/main" val="3403180079"/>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6EEBBC8-753B-0E25-C08C-10BBFAFF02FA}"/>
              </a:ext>
            </a:extLst>
          </p:cNvPr>
          <p:cNvSpPr>
            <a:spLocks noGrp="1"/>
          </p:cNvSpPr>
          <p:nvPr>
            <p:ph type="body" sz="quarter" idx="12"/>
          </p:nvPr>
        </p:nvSpPr>
        <p:spPr>
          <a:xfrm>
            <a:off x="1505021" y="1818414"/>
            <a:ext cx="7260287" cy="3381657"/>
          </a:xfrm>
        </p:spPr>
        <p:txBody>
          <a:bodyPr lIns="91440" tIns="45720" rIns="91440" bIns="45720" anchor="t"/>
          <a:lstStyle/>
          <a:p>
            <a:pPr marL="342900" indent="-342900">
              <a:buFont typeface="+mj-lt"/>
              <a:buAutoNum type="arabicPeriod"/>
              <a:defRPr/>
            </a:pPr>
            <a:r>
              <a:rPr lang="en-GB">
                <a:latin typeface="Calibri"/>
                <a:ea typeface="Calibri"/>
                <a:cs typeface="Calibri"/>
              </a:rPr>
              <a:t>Welcome</a:t>
            </a:r>
            <a:r>
              <a:rPr lang="en-BE">
                <a:latin typeface="Calibri"/>
                <a:ea typeface="Calibri"/>
                <a:cs typeface="Calibri"/>
              </a:rPr>
              <a:t> and introduction</a:t>
            </a:r>
            <a:r>
              <a:rPr lang="en-GB">
                <a:latin typeface="Calibri"/>
                <a:ea typeface="Calibri"/>
                <a:cs typeface="Calibri"/>
              </a:rPr>
              <a:t>			13:15 – 13:20</a:t>
            </a:r>
            <a:endParaRPr lang="en-GB">
              <a:ea typeface="Calibri"/>
            </a:endParaRPr>
          </a:p>
          <a:p>
            <a:pPr marL="342900" indent="-342900">
              <a:buFont typeface="+mj-lt"/>
              <a:buAutoNum type="arabicPeriod"/>
              <a:defRPr/>
            </a:pPr>
            <a:r>
              <a:rPr lang="en-GB">
                <a:latin typeface="Calibri"/>
                <a:ea typeface="Calibri"/>
                <a:cs typeface="Calibri"/>
              </a:rPr>
              <a:t>DAC, the bigger picture				13:20 – 13:40</a:t>
            </a:r>
            <a:endParaRPr lang="en-GB">
              <a:ea typeface="Calibri"/>
            </a:endParaRPr>
          </a:p>
          <a:p>
            <a:pPr marL="800100" lvl="2" indent="-342900">
              <a:spcBef>
                <a:spcPts val="1000"/>
              </a:spcBef>
              <a:buFont typeface="+mj-lt"/>
              <a:buChar char="•"/>
              <a:defRPr/>
            </a:pPr>
            <a:r>
              <a:rPr lang="en-GB" sz="1400">
                <a:latin typeface="Calibri"/>
                <a:ea typeface="Calibri"/>
                <a:cs typeface="Calibri"/>
              </a:rPr>
              <a:t>Organisation</a:t>
            </a:r>
            <a:endParaRPr lang="en-GB" sz="1400">
              <a:latin typeface="Calibri"/>
              <a:ea typeface="Calibri" panose="020F0502020204030204" pitchFamily="34" charset="0"/>
              <a:cs typeface="Calibri"/>
            </a:endParaRPr>
          </a:p>
          <a:p>
            <a:pPr marL="800100" lvl="2" indent="-342900">
              <a:spcBef>
                <a:spcPts val="1000"/>
              </a:spcBef>
              <a:buFont typeface="+mj-lt"/>
              <a:buChar char="•"/>
              <a:defRPr/>
            </a:pPr>
            <a:r>
              <a:rPr lang="en-GB" sz="1400">
                <a:latin typeface="Calibri"/>
                <a:ea typeface="Calibri"/>
                <a:cs typeface="Calibri"/>
              </a:rPr>
              <a:t>Planning</a:t>
            </a:r>
            <a:endParaRPr lang="en-GB" sz="1400">
              <a:latin typeface="Calibri"/>
              <a:ea typeface="Calibri" panose="020F0502020204030204" pitchFamily="34" charset="0"/>
              <a:cs typeface="Calibri"/>
            </a:endParaRPr>
          </a:p>
          <a:p>
            <a:pPr marL="342900" indent="-342900">
              <a:buFont typeface="+mj-lt"/>
              <a:buAutoNum type="arabicPeriod"/>
              <a:defRPr/>
            </a:pPr>
            <a:r>
              <a:rPr lang="en-GB">
                <a:latin typeface="Calibri"/>
                <a:ea typeface="Calibri"/>
                <a:cs typeface="Calibri"/>
              </a:rPr>
              <a:t>Interaction with ERTMS				13:40 – 14:30</a:t>
            </a:r>
            <a:endParaRPr lang="en-GB"/>
          </a:p>
          <a:p>
            <a:pPr marL="800100" lvl="2" indent="-342900">
              <a:spcBef>
                <a:spcPts val="1000"/>
              </a:spcBef>
              <a:buFont typeface="+mj-lt"/>
              <a:buChar char="•"/>
              <a:defRPr/>
            </a:pPr>
            <a:r>
              <a:rPr lang="en-GB" sz="1400">
                <a:latin typeface="Calibri"/>
                <a:cs typeface="Calibri"/>
              </a:rPr>
              <a:t>Operational rulebook</a:t>
            </a:r>
            <a:endParaRPr lang="en-BE" sz="1400">
              <a:latin typeface="Calibri"/>
              <a:ea typeface="Calibri" panose="020F0502020204030204" pitchFamily="34" charset="0"/>
              <a:cs typeface="Calibri"/>
            </a:endParaRPr>
          </a:p>
          <a:p>
            <a:pPr marL="800100" lvl="2" indent="-342900">
              <a:spcBef>
                <a:spcPts val="1000"/>
              </a:spcBef>
              <a:buFont typeface="+mj-lt"/>
              <a:buChar char="•"/>
              <a:defRPr/>
            </a:pPr>
            <a:r>
              <a:rPr lang="en-GB" sz="1400">
                <a:latin typeface="Calibri"/>
                <a:ea typeface="Calibri"/>
                <a:cs typeface="Calibri"/>
              </a:rPr>
              <a:t>Train length/-integrity</a:t>
            </a:r>
          </a:p>
          <a:p>
            <a:pPr marL="800100" lvl="2" indent="-342900">
              <a:spcBef>
                <a:spcPts val="1000"/>
              </a:spcBef>
              <a:defRPr/>
            </a:pPr>
            <a:r>
              <a:rPr lang="en-GB" sz="1400">
                <a:latin typeface="Calibri"/>
                <a:ea typeface="Calibri"/>
                <a:cs typeface="Calibri"/>
              </a:rPr>
              <a:t>Other interactions</a:t>
            </a:r>
            <a:endParaRPr lang="en-GB">
              <a:cs typeface="Arial"/>
            </a:endParaRPr>
          </a:p>
          <a:p>
            <a:pPr marL="342900" indent="-342900">
              <a:buFont typeface="+mj-lt"/>
              <a:buAutoNum type="arabicPeriod"/>
              <a:defRPr/>
            </a:pPr>
            <a:r>
              <a:rPr lang="en-GB">
                <a:latin typeface="Calibri"/>
                <a:ea typeface="Calibri"/>
                <a:cs typeface="Calibri"/>
              </a:rPr>
              <a:t>Questions and discussion                14:30 – 14:45</a:t>
            </a:r>
          </a:p>
          <a:p>
            <a:pPr>
              <a:defRPr/>
            </a:pPr>
            <a:endParaRPr lang="en-BE"/>
          </a:p>
          <a:p>
            <a:pPr marL="342900" marR="0" lvl="0" indent="-342900" fontAlgn="auto">
              <a:lnSpc>
                <a:spcPct val="100000"/>
              </a:lnSpc>
              <a:spcBef>
                <a:spcPts val="0"/>
              </a:spcBef>
              <a:spcAft>
                <a:spcPts val="0"/>
              </a:spcAft>
              <a:buClrTx/>
              <a:buSzTx/>
              <a:buFont typeface="Arial"/>
              <a:buAutoNum type="arabicPeriod"/>
              <a:tabLst/>
              <a:defRPr/>
            </a:pPr>
            <a:endParaRPr lang="en-BE" i="1"/>
          </a:p>
        </p:txBody>
      </p:sp>
      <p:sp>
        <p:nvSpPr>
          <p:cNvPr id="9" name="Title 8">
            <a:extLst>
              <a:ext uri="{FF2B5EF4-FFF2-40B4-BE49-F238E27FC236}">
                <a16:creationId xmlns:a16="http://schemas.microsoft.com/office/drawing/2014/main" id="{55E33072-9E58-BE0D-D3A4-2ED660E20D14}"/>
              </a:ext>
            </a:extLst>
          </p:cNvPr>
          <p:cNvSpPr>
            <a:spLocks noGrp="1"/>
          </p:cNvSpPr>
          <p:nvPr>
            <p:ph type="title"/>
          </p:nvPr>
        </p:nvSpPr>
        <p:spPr>
          <a:xfrm>
            <a:off x="1879363" y="318656"/>
            <a:ext cx="9568336" cy="684717"/>
          </a:xfrm>
        </p:spPr>
        <p:txBody>
          <a:bodyPr/>
          <a:lstStyle/>
          <a:p>
            <a:r>
              <a:rPr lang="en-GB" b="1">
                <a:latin typeface="Calibri"/>
                <a:ea typeface="Calibri"/>
                <a:cs typeface="Calibri"/>
              </a:rPr>
              <a:t>Agenda</a:t>
            </a:r>
            <a:endParaRPr lang="en-BE" b="1">
              <a:latin typeface="Calibri"/>
              <a:ea typeface="Calibri"/>
              <a:cs typeface="Calibri"/>
            </a:endParaRPr>
          </a:p>
        </p:txBody>
      </p:sp>
    </p:spTree>
    <p:extLst>
      <p:ext uri="{BB962C8B-B14F-4D97-AF65-F5344CB8AC3E}">
        <p14:creationId xmlns:p14="http://schemas.microsoft.com/office/powerpoint/2010/main" val="32466855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441728E-F287-094E-D610-47B62C0596DF}"/>
              </a:ext>
            </a:extLst>
          </p:cNvPr>
          <p:cNvSpPr>
            <a:spLocks noGrp="1"/>
          </p:cNvSpPr>
          <p:nvPr>
            <p:ph type="body" sz="quarter" idx="10"/>
          </p:nvPr>
        </p:nvSpPr>
        <p:spPr>
          <a:xfrm>
            <a:off x="2853531" y="2444696"/>
            <a:ext cx="6484937" cy="1053089"/>
          </a:xfrm>
        </p:spPr>
        <p:txBody>
          <a:bodyPr lIns="91440" tIns="45720" rIns="91440" bIns="45720" anchor="t">
            <a:normAutofit/>
          </a:bodyPr>
          <a:lstStyle/>
          <a:p>
            <a:r>
              <a:rPr lang="en-GB" sz="3600">
                <a:solidFill>
                  <a:schemeClr val="tx2"/>
                </a:solidFill>
              </a:rPr>
              <a:t>4. Questions and Discussion</a:t>
            </a:r>
            <a:endParaRPr lang="en-US" sz="3600">
              <a:solidFill>
                <a:schemeClr val="tx2"/>
              </a:solidFill>
            </a:endParaRPr>
          </a:p>
        </p:txBody>
      </p:sp>
    </p:spTree>
    <p:extLst>
      <p:ext uri="{BB962C8B-B14F-4D97-AF65-F5344CB8AC3E}">
        <p14:creationId xmlns:p14="http://schemas.microsoft.com/office/powerpoint/2010/main" val="3434178213"/>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05738-594E-B51B-8439-28032971705F}"/>
            </a:ext>
          </a:extLst>
        </p:cNvPr>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7CE9ACB9-D2FD-447C-9140-6D8384EE84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73" name="think-cell data - do not delete" hidden="1">
                        <a:extLst>
                          <a:ext uri="{FF2B5EF4-FFF2-40B4-BE49-F238E27FC236}">
                            <a16:creationId xmlns:a16="http://schemas.microsoft.com/office/drawing/2014/main" id="{7CE9ACB9-D2FD-447C-9140-6D8384EE84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4">
            <a:extLst>
              <a:ext uri="{FF2B5EF4-FFF2-40B4-BE49-F238E27FC236}">
                <a16:creationId xmlns:a16="http://schemas.microsoft.com/office/drawing/2014/main" id="{E451785C-ED9A-EA80-30C3-A265B0FA5173}"/>
              </a:ext>
            </a:extLst>
          </p:cNvPr>
          <p:cNvSpPr txBox="1">
            <a:spLocks/>
          </p:cNvSpPr>
          <p:nvPr/>
        </p:nvSpPr>
        <p:spPr>
          <a:xfrm>
            <a:off x="1908698" y="365125"/>
            <a:ext cx="9445101" cy="65580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2400" b="1">
                <a:solidFill>
                  <a:srgbClr val="1B4A69"/>
                </a:solidFill>
                <a:latin typeface="Open Sans"/>
                <a:ea typeface="Open Sans"/>
                <a:cs typeface="Open Sans"/>
              </a:rPr>
              <a:t>Are you interested for further information?</a:t>
            </a:r>
            <a:endParaRPr lang="en-US" cap="a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6806FEA2-C25F-12F3-5DE1-834E908E72CB}"/>
              </a:ext>
            </a:extLst>
          </p:cNvPr>
          <p:cNvSpPr txBox="1"/>
          <p:nvPr/>
        </p:nvSpPr>
        <p:spPr>
          <a:xfrm>
            <a:off x="1663800" y="2719522"/>
            <a:ext cx="10531325" cy="900246"/>
          </a:xfrm>
          <a:prstGeom prst="rect">
            <a:avLst/>
          </a:prstGeom>
          <a:noFill/>
        </p:spPr>
        <p:txBody>
          <a:bodyPr wrap="square" lIns="91440" tIns="45720" rIns="91440" bIns="45720" anchor="t">
            <a:spAutoFit/>
          </a:bodyPr>
          <a:lstStyle/>
          <a:p>
            <a:pPr>
              <a:lnSpc>
                <a:spcPts val="2100"/>
              </a:lnSpc>
              <a:spcAft>
                <a:spcPts val="1200"/>
              </a:spcAft>
            </a:pPr>
            <a:r>
              <a:rPr lang="pl-PL" b="1" err="1">
                <a:solidFill>
                  <a:srgbClr val="0C1D3E"/>
                </a:solidFill>
                <a:ea typeface="Calibri"/>
                <a:cs typeface="Arial"/>
              </a:rPr>
              <a:t>Join</a:t>
            </a:r>
            <a:r>
              <a:rPr lang="pl-PL" b="1">
                <a:solidFill>
                  <a:srgbClr val="0C1D3E"/>
                </a:solidFill>
                <a:ea typeface="Calibri"/>
                <a:cs typeface="Arial"/>
              </a:rPr>
              <a:t> </a:t>
            </a:r>
            <a:r>
              <a:rPr lang="fr-BE" b="1">
                <a:solidFill>
                  <a:srgbClr val="0C1D3E"/>
                </a:solidFill>
                <a:ea typeface="Calibri"/>
                <a:cs typeface="Arial"/>
              </a:rPr>
              <a:t>the EDDP </a:t>
            </a:r>
            <a:r>
              <a:rPr lang="fr-BE" b="1" err="1">
                <a:solidFill>
                  <a:srgbClr val="0C1D3E"/>
                </a:solidFill>
                <a:ea typeface="Calibri"/>
                <a:cs typeface="Arial"/>
              </a:rPr>
              <a:t>work</a:t>
            </a:r>
            <a:r>
              <a:rPr lang="fr-BE" b="1">
                <a:solidFill>
                  <a:srgbClr val="0C1D3E"/>
                </a:solidFill>
                <a:ea typeface="Calibri"/>
                <a:cs typeface="Arial"/>
              </a:rPr>
              <a:t> packages and s</a:t>
            </a:r>
            <a:r>
              <a:rPr lang="pl-PL" b="1" err="1">
                <a:solidFill>
                  <a:srgbClr val="0C1D3E"/>
                </a:solidFill>
                <a:ea typeface="Calibri"/>
                <a:cs typeface="Arial"/>
              </a:rPr>
              <a:t>ounding</a:t>
            </a:r>
            <a:r>
              <a:rPr lang="pl-PL" b="1">
                <a:solidFill>
                  <a:srgbClr val="0C1D3E"/>
                </a:solidFill>
                <a:ea typeface="Calibri"/>
                <a:cs typeface="Arial"/>
              </a:rPr>
              <a:t> </a:t>
            </a:r>
            <a:r>
              <a:rPr lang="pl-PL" b="1" err="1">
                <a:solidFill>
                  <a:srgbClr val="0C1D3E"/>
                </a:solidFill>
                <a:ea typeface="Calibri"/>
                <a:cs typeface="Arial"/>
              </a:rPr>
              <a:t>boards</a:t>
            </a:r>
            <a:r>
              <a:rPr lang="fr-BE" b="1">
                <a:solidFill>
                  <a:srgbClr val="0C1D3E"/>
                </a:solidFill>
                <a:ea typeface="Calibri"/>
                <a:cs typeface="Arial"/>
              </a:rPr>
              <a:t>: </a:t>
            </a:r>
            <a:br>
              <a:rPr lang="fr-BE" sz="2000">
                <a:latin typeface="Open Sans"/>
                <a:ea typeface="Open Sans"/>
                <a:cs typeface="Open Sans"/>
              </a:rPr>
            </a:br>
            <a:br>
              <a:rPr lang="fr-BE" sz="2000">
                <a:latin typeface="Open Sans"/>
                <a:ea typeface="Open Sans"/>
                <a:cs typeface="Open Sans"/>
              </a:rPr>
            </a:br>
            <a:r>
              <a:rPr lang="fr-BE">
                <a:solidFill>
                  <a:srgbClr val="46556E"/>
                </a:solidFill>
                <a:latin typeface="Open Sans"/>
                <a:ea typeface="Open Sans"/>
                <a:cs typeface="Open Sans"/>
                <a:hlinkClick r:id="rId6"/>
              </a:rPr>
              <a:t>https://ec.europa.eu/eusurvey/runner/DACIdentificationGridforOperation</a:t>
            </a:r>
            <a:endParaRPr lang="fr-BE">
              <a:solidFill>
                <a:srgbClr val="46556E"/>
              </a:solidFill>
              <a:latin typeface="Open Sans"/>
              <a:ea typeface="Open Sans"/>
              <a:cs typeface="Open Sans"/>
            </a:endParaRPr>
          </a:p>
        </p:txBody>
      </p:sp>
      <p:sp>
        <p:nvSpPr>
          <p:cNvPr id="4" name="Slide Number Placeholder 1">
            <a:extLst>
              <a:ext uri="{FF2B5EF4-FFF2-40B4-BE49-F238E27FC236}">
                <a16:creationId xmlns:a16="http://schemas.microsoft.com/office/drawing/2014/main" id="{C7755745-EE22-ADC4-FBCA-97FBF912BF39}"/>
              </a:ext>
            </a:extLst>
          </p:cNvPr>
          <p:cNvSpPr txBox="1">
            <a:spLocks/>
          </p:cNvSpPr>
          <p:nvPr/>
        </p:nvSpPr>
        <p:spPr>
          <a:xfrm>
            <a:off x="8610600" y="6356350"/>
            <a:ext cx="2743200" cy="365125"/>
          </a:xfrm>
          <a:prstGeom prst="rect">
            <a:avLst/>
          </a:prstGeom>
        </p:spPr>
        <p:txBody>
          <a:bodyPr/>
          <a:lstStyle>
            <a:defPPr>
              <a:defRPr lang="fr-FR"/>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ABB0DC6-0311-9D4C-8333-A8862636E7AD}" type="slidenum">
              <a:rPr lang="en-GB" sz="800" smtClean="0">
                <a:latin typeface="Open Sans" pitchFamily="2" charset="0"/>
                <a:ea typeface="Open Sans" pitchFamily="2" charset="0"/>
                <a:cs typeface="Open Sans" pitchFamily="2" charset="0"/>
              </a:rPr>
              <a:pPr>
                <a:defRPr/>
              </a:pPr>
              <a:t>31</a:t>
            </a:fld>
            <a:endParaRPr lang="en-GB" sz="800">
              <a:solidFill>
                <a:prstClr val="black">
                  <a:tint val="75000"/>
                </a:prstClr>
              </a:solidFill>
              <a:latin typeface="Open Sans" pitchFamily="2" charset="0"/>
              <a:ea typeface="Open Sans" pitchFamily="2" charset="0"/>
              <a:cs typeface="Open Sans" pitchFamily="2" charset="0"/>
            </a:endParaRPr>
          </a:p>
        </p:txBody>
      </p:sp>
    </p:spTree>
    <p:extLst>
      <p:ext uri="{BB962C8B-B14F-4D97-AF65-F5344CB8AC3E}">
        <p14:creationId xmlns:p14="http://schemas.microsoft.com/office/powerpoint/2010/main" val="33559793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23114F70-B457-D2A2-A42F-69F6B50704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38" name="think-cell data - do not delete" hidden="1">
                        <a:extLst>
                          <a:ext uri="{FF2B5EF4-FFF2-40B4-BE49-F238E27FC236}">
                            <a16:creationId xmlns:a16="http://schemas.microsoft.com/office/drawing/2014/main" id="{23114F70-B457-D2A2-A42F-69F6B5070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screenshot of a group of logos&#10;&#10;Description automatically generated">
            <a:extLst>
              <a:ext uri="{FF2B5EF4-FFF2-40B4-BE49-F238E27FC236}">
                <a16:creationId xmlns:a16="http://schemas.microsoft.com/office/drawing/2014/main" id="{02FAD23B-7A7E-FD44-498B-CE2A76B32360}"/>
              </a:ext>
            </a:extLst>
          </p:cNvPr>
          <p:cNvPicPr>
            <a:picLocks noChangeAspect="1"/>
          </p:cNvPicPr>
          <p:nvPr/>
        </p:nvPicPr>
        <p:blipFill>
          <a:blip r:embed="rId6"/>
          <a:stretch>
            <a:fillRect/>
          </a:stretch>
        </p:blipFill>
        <p:spPr>
          <a:xfrm>
            <a:off x="2788936" y="408608"/>
            <a:ext cx="4412726" cy="5643218"/>
          </a:xfrm>
          <a:prstGeom prst="rect">
            <a:avLst/>
          </a:prstGeom>
        </p:spPr>
      </p:pic>
      <p:sp>
        <p:nvSpPr>
          <p:cNvPr id="3" name="TextBox 2">
            <a:extLst>
              <a:ext uri="{FF2B5EF4-FFF2-40B4-BE49-F238E27FC236}">
                <a16:creationId xmlns:a16="http://schemas.microsoft.com/office/drawing/2014/main" id="{3BDEF18B-AC59-E5A9-250C-071787055BEC}"/>
              </a:ext>
            </a:extLst>
          </p:cNvPr>
          <p:cNvSpPr txBox="1"/>
          <p:nvPr/>
        </p:nvSpPr>
        <p:spPr>
          <a:xfrm>
            <a:off x="6815492" y="4869235"/>
            <a:ext cx="4583501"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b="1">
                <a:solidFill>
                  <a:srgbClr val="0C1D3E"/>
                </a:solidFill>
                <a:ea typeface="Calibri" panose="020F0502020204030204" pitchFamily="34" charset="0"/>
                <a:cs typeface="Arial"/>
                <a:hlinkClick r:id="rId7"/>
              </a:rPr>
              <a:t>Johannes.Graeber@knorr-bremse.com</a:t>
            </a:r>
            <a:endParaRPr lang="en-GB" b="1" err="1">
              <a:solidFill>
                <a:srgbClr val="0C1D3E"/>
              </a:solidFill>
              <a:ea typeface="Calibri" panose="020F0502020204030204" pitchFamily="34" charset="0"/>
              <a:cs typeface="Arial" panose="020B0604020202020204" pitchFamily="34" charset="0"/>
            </a:endParaRPr>
          </a:p>
          <a:p>
            <a:r>
              <a:rPr lang="en-GB" b="1">
                <a:solidFill>
                  <a:srgbClr val="0C1D3E"/>
                </a:solidFill>
                <a:ea typeface="Calibri" panose="020F0502020204030204" pitchFamily="34" charset="0"/>
                <a:cs typeface="Arial"/>
                <a:hlinkClick r:id="rId8"/>
              </a:rPr>
              <a:t>Henon@uic.org</a:t>
            </a:r>
            <a:endParaRPr lang="en-GB" b="1">
              <a:solidFill>
                <a:srgbClr val="0C1D3E"/>
              </a:solidFill>
              <a:ea typeface="Calibri" panose="020F0502020204030204" pitchFamily="34" charset="0"/>
              <a:cs typeface="Arial" panose="020B0604020202020204" pitchFamily="34" charset="0"/>
            </a:endParaRPr>
          </a:p>
          <a:p>
            <a:r>
              <a:rPr lang="en-GB" b="1">
                <a:solidFill>
                  <a:srgbClr val="0C1D3E"/>
                </a:solidFill>
                <a:ea typeface="Calibri" panose="020F0502020204030204" pitchFamily="34" charset="0"/>
                <a:cs typeface="Arial"/>
                <a:hlinkClick r:id="rId9"/>
              </a:rPr>
              <a:t>Karel.vangils@rail-research.europa.eu</a:t>
            </a:r>
            <a:endParaRPr lang="en-GB" b="1">
              <a:solidFill>
                <a:srgbClr val="0C1D3E"/>
              </a:solidFill>
              <a:ea typeface="Calibri" panose="020F0502020204030204" pitchFamily="34" charset="0"/>
              <a:cs typeface="Arial" panose="020B0604020202020204" pitchFamily="34" charset="0"/>
              <a:hlinkClick r:id="rId9"/>
            </a:endParaRPr>
          </a:p>
          <a:p>
            <a:endParaRPr lang="en-GB" b="1">
              <a:solidFill>
                <a:srgbClr val="0C1D3E"/>
              </a:solidFill>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683545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441728E-F287-094E-D610-47B62C0596DF}"/>
              </a:ext>
            </a:extLst>
          </p:cNvPr>
          <p:cNvSpPr>
            <a:spLocks noGrp="1"/>
          </p:cNvSpPr>
          <p:nvPr>
            <p:ph type="body" sz="quarter" idx="10"/>
          </p:nvPr>
        </p:nvSpPr>
        <p:spPr>
          <a:xfrm>
            <a:off x="1837531" y="2444696"/>
            <a:ext cx="8921027" cy="983817"/>
          </a:xfrm>
        </p:spPr>
        <p:txBody>
          <a:bodyPr lIns="91440" tIns="45720" rIns="91440" bIns="45720" anchor="t">
            <a:noAutofit/>
          </a:bodyPr>
          <a:lstStyle/>
          <a:p>
            <a:r>
              <a:rPr lang="en-GB" sz="3600">
                <a:solidFill>
                  <a:schemeClr val="tx2"/>
                </a:solidFill>
              </a:rPr>
              <a:t>2. Digital automatic coupling (DAC), </a:t>
            </a:r>
            <a:endParaRPr lang="en-US" sz="3600">
              <a:solidFill>
                <a:schemeClr val="tx2"/>
              </a:solidFill>
              <a:cs typeface="Arial"/>
            </a:endParaRPr>
          </a:p>
          <a:p>
            <a:r>
              <a:rPr lang="en-GB" sz="3600">
                <a:solidFill>
                  <a:schemeClr val="tx2"/>
                </a:solidFill>
              </a:rPr>
              <a:t>the bigger picture</a:t>
            </a:r>
            <a:endParaRPr lang="en-GB" sz="4000">
              <a:solidFill>
                <a:schemeClr val="tx2"/>
              </a:solidFill>
              <a:cs typeface="Arial"/>
            </a:endParaRPr>
          </a:p>
          <a:p>
            <a:endParaRPr lang="en-US" sz="3600"/>
          </a:p>
        </p:txBody>
      </p:sp>
    </p:spTree>
    <p:extLst>
      <p:ext uri="{BB962C8B-B14F-4D97-AF65-F5344CB8AC3E}">
        <p14:creationId xmlns:p14="http://schemas.microsoft.com/office/powerpoint/2010/main" val="898335633"/>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88C1DD2-2DA8-F049-AB4A-B3AF0238E1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F88C1DD2-2DA8-F049-AB4A-B3AF0238E1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1788958" y="109084"/>
            <a:ext cx="5316696" cy="1073150"/>
          </a:xfrm>
        </p:spPr>
        <p:txBody>
          <a:bodyPr vert="horz">
            <a:normAutofit/>
          </a:bodyPr>
          <a:lstStyle/>
          <a:p>
            <a:r>
              <a:rPr lang="en-US" sz="2400" b="1">
                <a:solidFill>
                  <a:srgbClr val="1B4A69"/>
                </a:solidFill>
                <a:latin typeface="Open Sans" pitchFamily="2" charset="0"/>
                <a:ea typeface="Open Sans" pitchFamily="2" charset="0"/>
                <a:cs typeface="Open Sans" pitchFamily="2" charset="0"/>
              </a:rPr>
              <a:t>The challenges for EU rail freight</a:t>
            </a:r>
          </a:p>
        </p:txBody>
      </p:sp>
      <p:sp>
        <p:nvSpPr>
          <p:cNvPr id="13" name="Rectangle 12">
            <a:extLst>
              <a:ext uri="{FF2B5EF4-FFF2-40B4-BE49-F238E27FC236}">
                <a16:creationId xmlns:a16="http://schemas.microsoft.com/office/drawing/2014/main" id="{747D3FBD-1A5D-4F56-B176-CC3355A8D526}"/>
              </a:ext>
            </a:extLst>
          </p:cNvPr>
          <p:cNvSpPr/>
          <p:nvPr/>
        </p:nvSpPr>
        <p:spPr>
          <a:xfrm>
            <a:off x="978629" y="1273559"/>
            <a:ext cx="3219926" cy="4780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Capacity</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b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from bottleneck </a:t>
            </a:r>
            <a:b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to green backbone</a:t>
            </a:r>
          </a:p>
        </p:txBody>
      </p:sp>
      <p:sp>
        <p:nvSpPr>
          <p:cNvPr id="14" name="Rectangle 13">
            <a:extLst>
              <a:ext uri="{FF2B5EF4-FFF2-40B4-BE49-F238E27FC236}">
                <a16:creationId xmlns:a16="http://schemas.microsoft.com/office/drawing/2014/main" id="{0C5A01C5-CC1C-4FAF-9BBB-7E3ECB942E4C}"/>
              </a:ext>
            </a:extLst>
          </p:cNvPr>
          <p:cNvSpPr/>
          <p:nvPr/>
        </p:nvSpPr>
        <p:spPr>
          <a:xfrm>
            <a:off x="4578422" y="1273559"/>
            <a:ext cx="3219926" cy="4780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Productiv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from manual intervention</a:t>
            </a:r>
            <a:b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to automation</a:t>
            </a:r>
          </a:p>
        </p:txBody>
      </p:sp>
      <p:sp>
        <p:nvSpPr>
          <p:cNvPr id="15" name="Rectangle 14">
            <a:extLst>
              <a:ext uri="{FF2B5EF4-FFF2-40B4-BE49-F238E27FC236}">
                <a16:creationId xmlns:a16="http://schemas.microsoft.com/office/drawing/2014/main" id="{71EFE065-AA05-4B39-9AE6-198F46732FF4}"/>
              </a:ext>
            </a:extLst>
          </p:cNvPr>
          <p:cNvSpPr/>
          <p:nvPr/>
        </p:nvSpPr>
        <p:spPr>
          <a:xfrm>
            <a:off x="8249025" y="1283964"/>
            <a:ext cx="3219926" cy="4780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Qual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from paper </a:t>
            </a:r>
            <a:b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to digital</a:t>
            </a:r>
          </a:p>
        </p:txBody>
      </p:sp>
      <p:sp>
        <p:nvSpPr>
          <p:cNvPr id="16" name="TextBox 15">
            <a:extLst>
              <a:ext uri="{FF2B5EF4-FFF2-40B4-BE49-F238E27FC236}">
                <a16:creationId xmlns:a16="http://schemas.microsoft.com/office/drawing/2014/main" id="{8924C080-862B-40AB-AC70-38321E9FDA35}"/>
              </a:ext>
            </a:extLst>
          </p:cNvPr>
          <p:cNvSpPr txBox="1"/>
          <p:nvPr/>
        </p:nvSpPr>
        <p:spPr>
          <a:xfrm>
            <a:off x="1128874" y="2759133"/>
            <a:ext cx="2831224" cy="132343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 50% rail freight</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 55% GHG emission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20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by 2030</a:t>
            </a:r>
          </a:p>
        </p:txBody>
      </p:sp>
      <p:pic>
        <p:nvPicPr>
          <p:cNvPr id="17" name="Picture 16">
            <a:extLst>
              <a:ext uri="{FF2B5EF4-FFF2-40B4-BE49-F238E27FC236}">
                <a16:creationId xmlns:a16="http://schemas.microsoft.com/office/drawing/2014/main" id="{1961D6E2-6F1D-4F82-96A7-844CF82DC48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66097" y="2264827"/>
            <a:ext cx="2785781" cy="2189403"/>
          </a:xfrm>
          <a:prstGeom prst="rect">
            <a:avLst/>
          </a:prstGeom>
        </p:spPr>
      </p:pic>
      <p:pic>
        <p:nvPicPr>
          <p:cNvPr id="18" name="Picture 17">
            <a:extLst>
              <a:ext uri="{FF2B5EF4-FFF2-40B4-BE49-F238E27FC236}">
                <a16:creationId xmlns:a16="http://schemas.microsoft.com/office/drawing/2014/main" id="{9FE47F85-B160-4868-8A7B-89BE9BD1E48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33264" y="2317377"/>
            <a:ext cx="2731256" cy="2321793"/>
          </a:xfrm>
          <a:prstGeom prst="rect">
            <a:avLst/>
          </a:prstGeom>
        </p:spPr>
      </p:pic>
      <p:sp>
        <p:nvSpPr>
          <p:cNvPr id="10" name="TextBox 9">
            <a:extLst>
              <a:ext uri="{FF2B5EF4-FFF2-40B4-BE49-F238E27FC236}">
                <a16:creationId xmlns:a16="http://schemas.microsoft.com/office/drawing/2014/main" id="{AF2DC6F2-6134-4855-8CA8-DC37FE3820B0}"/>
              </a:ext>
            </a:extLst>
          </p:cNvPr>
          <p:cNvSpPr txBox="1"/>
          <p:nvPr/>
        </p:nvSpPr>
        <p:spPr>
          <a:xfrm>
            <a:off x="10266664" y="4247927"/>
            <a:ext cx="97494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Courtesy of ÖBB</a:t>
            </a:r>
          </a:p>
        </p:txBody>
      </p:sp>
      <p:sp>
        <p:nvSpPr>
          <p:cNvPr id="3" name="Slide Number Placeholder 1">
            <a:extLst>
              <a:ext uri="{FF2B5EF4-FFF2-40B4-BE49-F238E27FC236}">
                <a16:creationId xmlns:a16="http://schemas.microsoft.com/office/drawing/2014/main" id="{85E91520-531E-184B-DED7-07E0DD1D4EF8}"/>
              </a:ext>
            </a:extLst>
          </p:cNvPr>
          <p:cNvSpPr txBox="1">
            <a:spLocks/>
          </p:cNvSpPr>
          <p:nvPr/>
        </p:nvSpPr>
        <p:spPr>
          <a:xfrm>
            <a:off x="8763000" y="6508750"/>
            <a:ext cx="2743200" cy="365125"/>
          </a:xfrm>
          <a:prstGeom prst="rect">
            <a:avLst/>
          </a:prstGeom>
        </p:spPr>
        <p:txBody>
          <a:bodyPr/>
          <a:lstStyle>
            <a:defPPr>
              <a:defRPr lang="fr-FR"/>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ABB0DC6-0311-9D4C-8333-A8862636E7AD}" type="slidenum">
              <a:rPr lang="en-GB" sz="800" smtClean="0">
                <a:latin typeface="Open Sans" pitchFamily="2" charset="0"/>
                <a:ea typeface="Open Sans" pitchFamily="2" charset="0"/>
                <a:cs typeface="Open Sans" pitchFamily="2" charset="0"/>
              </a:rPr>
              <a:pPr>
                <a:defRPr/>
              </a:pPr>
              <a:t>5</a:t>
            </a:fld>
            <a:endParaRPr lang="en-GB" sz="800">
              <a:solidFill>
                <a:prstClr val="black">
                  <a:tint val="75000"/>
                </a:prstClr>
              </a:solidFill>
              <a:latin typeface="Open Sans" pitchFamily="2" charset="0"/>
              <a:ea typeface="Open Sans" pitchFamily="2" charset="0"/>
              <a:cs typeface="Open Sans" pitchFamily="2" charset="0"/>
            </a:endParaRPr>
          </a:p>
        </p:txBody>
      </p:sp>
    </p:spTree>
    <p:extLst>
      <p:ext uri="{BB962C8B-B14F-4D97-AF65-F5344CB8AC3E}">
        <p14:creationId xmlns:p14="http://schemas.microsoft.com/office/powerpoint/2010/main" val="24108992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88C1DD2-2DA8-F049-AB4A-B3AF0238E1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F88C1DD2-2DA8-F049-AB4A-B3AF0238E1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1785464" y="195609"/>
            <a:ext cx="6577044" cy="684717"/>
          </a:xfrm>
        </p:spPr>
        <p:txBody>
          <a:bodyPr vert="horz">
            <a:normAutofit/>
          </a:bodyPr>
          <a:lstStyle/>
          <a:p>
            <a:r>
              <a:rPr lang="en-US" sz="2400" b="1">
                <a:solidFill>
                  <a:srgbClr val="1B4A69"/>
                </a:solidFill>
                <a:latin typeface="Open Sans" pitchFamily="2" charset="0"/>
                <a:ea typeface="Open Sans" pitchFamily="2" charset="0"/>
                <a:cs typeface="Open Sans" pitchFamily="2" charset="0"/>
              </a:rPr>
              <a:t>Processes today – and tomorrow</a:t>
            </a:r>
          </a:p>
        </p:txBody>
      </p:sp>
      <p:sp>
        <p:nvSpPr>
          <p:cNvPr id="9" name="Rectangle 8">
            <a:extLst>
              <a:ext uri="{FF2B5EF4-FFF2-40B4-BE49-F238E27FC236}">
                <a16:creationId xmlns:a16="http://schemas.microsoft.com/office/drawing/2014/main" id="{AC903C06-E4F9-4F6D-AF70-9500B2536A89}"/>
              </a:ext>
            </a:extLst>
          </p:cNvPr>
          <p:cNvSpPr/>
          <p:nvPr/>
        </p:nvSpPr>
        <p:spPr>
          <a:xfrm>
            <a:off x="1883896" y="1273559"/>
            <a:ext cx="3374429" cy="465427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manual</a:t>
            </a:r>
            <a:b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freight wagon</a:t>
            </a:r>
            <a:b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coupling</a:t>
            </a:r>
            <a:endParaRPr kumimoji="0" lang="en-GB" sz="2400" b="1" i="1"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p:txBody>
      </p:sp>
      <p:sp>
        <p:nvSpPr>
          <p:cNvPr id="10" name="Rectangle 9">
            <a:extLst>
              <a:ext uri="{FF2B5EF4-FFF2-40B4-BE49-F238E27FC236}">
                <a16:creationId xmlns:a16="http://schemas.microsoft.com/office/drawing/2014/main" id="{EC07C89B-1A94-475C-A549-9E464393455D}"/>
              </a:ext>
            </a:extLst>
          </p:cNvPr>
          <p:cNvSpPr/>
          <p:nvPr/>
        </p:nvSpPr>
        <p:spPr>
          <a:xfrm>
            <a:off x="6923606" y="1273559"/>
            <a:ext cx="3374429" cy="465427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automatic</a:t>
            </a:r>
            <a:b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freight wagon</a:t>
            </a:r>
            <a:b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2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coupling</a:t>
            </a:r>
            <a:endParaRPr kumimoji="0" lang="en-GB" sz="2400" b="1" i="1"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p:txBody>
      </p:sp>
      <p:sp>
        <p:nvSpPr>
          <p:cNvPr id="3" name="TextBox 2">
            <a:extLst>
              <a:ext uri="{FF2B5EF4-FFF2-40B4-BE49-F238E27FC236}">
                <a16:creationId xmlns:a16="http://schemas.microsoft.com/office/drawing/2014/main" id="{3CBAC066-3A2C-4D89-BA34-7C1C742035E8}"/>
              </a:ext>
            </a:extLst>
          </p:cNvPr>
          <p:cNvSpPr txBox="1"/>
          <p:nvPr/>
        </p:nvSpPr>
        <p:spPr>
          <a:xfrm>
            <a:off x="4149484" y="5946755"/>
            <a:ext cx="117051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Open Sans" pitchFamily="2" charset="0"/>
                <a:ea typeface="Open Sans" pitchFamily="2" charset="0"/>
                <a:cs typeface="Open Sans" pitchFamily="2" charset="0"/>
              </a:rPr>
              <a:t>Courtesy of ÖBB</a:t>
            </a:r>
          </a:p>
        </p:txBody>
      </p:sp>
      <p:sp>
        <p:nvSpPr>
          <p:cNvPr id="7" name="TextBox 6">
            <a:extLst>
              <a:ext uri="{FF2B5EF4-FFF2-40B4-BE49-F238E27FC236}">
                <a16:creationId xmlns:a16="http://schemas.microsoft.com/office/drawing/2014/main" id="{7704728B-E58F-459B-8FF7-57372382DBD1}"/>
              </a:ext>
            </a:extLst>
          </p:cNvPr>
          <p:cNvSpPr txBox="1"/>
          <p:nvPr/>
        </p:nvSpPr>
        <p:spPr>
          <a:xfrm>
            <a:off x="8362508" y="5946755"/>
            <a:ext cx="211307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Open Sans" pitchFamily="2" charset="0"/>
                <a:ea typeface="Open Sans" pitchFamily="2" charset="0"/>
                <a:cs typeface="Open Sans" pitchFamily="2" charset="0"/>
              </a:rPr>
              <a:t>Courtesy of DAC4EU consortium</a:t>
            </a:r>
          </a:p>
        </p:txBody>
      </p:sp>
      <p:pic>
        <p:nvPicPr>
          <p:cNvPr id="11" name="Content Placeholder 4" descr="A picture containing text, orange, soft drink&#10;&#10;Description automatically generated">
            <a:extLst>
              <a:ext uri="{FF2B5EF4-FFF2-40B4-BE49-F238E27FC236}">
                <a16:creationId xmlns:a16="http://schemas.microsoft.com/office/drawing/2014/main" id="{CAE8643E-13FC-44A5-AAC1-90564BBBB7E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73691" y="3015893"/>
            <a:ext cx="2993905" cy="2428529"/>
          </a:xfrm>
          <a:prstGeom prst="rect">
            <a:avLst/>
          </a:prstGeom>
        </p:spPr>
      </p:pic>
      <p:sp>
        <p:nvSpPr>
          <p:cNvPr id="12" name="Arrow: Right 11">
            <a:extLst>
              <a:ext uri="{FF2B5EF4-FFF2-40B4-BE49-F238E27FC236}">
                <a16:creationId xmlns:a16="http://schemas.microsoft.com/office/drawing/2014/main" id="{6CF9019B-7FE5-4C47-9526-B603AB614665}"/>
              </a:ext>
            </a:extLst>
          </p:cNvPr>
          <p:cNvSpPr/>
          <p:nvPr/>
        </p:nvSpPr>
        <p:spPr>
          <a:xfrm>
            <a:off x="5721351" y="3608675"/>
            <a:ext cx="749298" cy="1179034"/>
          </a:xfrm>
          <a:prstGeom prst="right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endParaRPr>
          </a:p>
        </p:txBody>
      </p:sp>
      <p:pic>
        <p:nvPicPr>
          <p:cNvPr id="13" name="Picture 12" descr="A picture containing outdoor, yellow, farm machine&#10;&#10;Description automatically generated">
            <a:extLst>
              <a:ext uri="{FF2B5EF4-FFF2-40B4-BE49-F238E27FC236}">
                <a16:creationId xmlns:a16="http://schemas.microsoft.com/office/drawing/2014/main" id="{0521A38B-1282-4B8A-B073-D13F55B2795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105983" y="3015893"/>
            <a:ext cx="2993905" cy="2428529"/>
          </a:xfrm>
          <a:prstGeom prst="rect">
            <a:avLst/>
          </a:prstGeom>
        </p:spPr>
      </p:pic>
      <p:sp>
        <p:nvSpPr>
          <p:cNvPr id="14" name="TextBox 13">
            <a:extLst>
              <a:ext uri="{FF2B5EF4-FFF2-40B4-BE49-F238E27FC236}">
                <a16:creationId xmlns:a16="http://schemas.microsoft.com/office/drawing/2014/main" id="{E4FA3C7D-6A80-4BE9-A939-9D10F7EB61AD}"/>
              </a:ext>
            </a:extLst>
          </p:cNvPr>
          <p:cNvSpPr txBox="1"/>
          <p:nvPr/>
        </p:nvSpPr>
        <p:spPr>
          <a:xfrm>
            <a:off x="7105983" y="5561635"/>
            <a:ext cx="310854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Open Sans" pitchFamily="2" charset="0"/>
                <a:ea typeface="Open Sans" pitchFamily="2" charset="0"/>
                <a:cs typeface="Open Sans" pitchFamily="2" charset="0"/>
              </a:rPr>
              <a:t>mechanical, pneumatical, energy &amp; data coupling</a:t>
            </a:r>
          </a:p>
        </p:txBody>
      </p:sp>
      <p:sp>
        <p:nvSpPr>
          <p:cNvPr id="5" name="Slide Number Placeholder 1">
            <a:extLst>
              <a:ext uri="{FF2B5EF4-FFF2-40B4-BE49-F238E27FC236}">
                <a16:creationId xmlns:a16="http://schemas.microsoft.com/office/drawing/2014/main" id="{96ECD695-AF35-63B8-695B-292D24483F61}"/>
              </a:ext>
            </a:extLst>
          </p:cNvPr>
          <p:cNvSpPr>
            <a:spLocks noGrp="1"/>
          </p:cNvSpPr>
          <p:nvPr>
            <p:ph type="sldNum" sz="quarter" idx="14"/>
          </p:nvPr>
        </p:nvSpPr>
        <p:spPr>
          <a:xfrm>
            <a:off x="8610600" y="6356350"/>
            <a:ext cx="2743200" cy="365125"/>
          </a:xfrm>
          <a:prstGeom prst="rect">
            <a:avLst/>
          </a:prstGeom>
        </p:spPr>
        <p:txBody>
          <a:bodyPr/>
          <a:lstStyle>
            <a:defPPr>
              <a:defRPr lang="fr-FR"/>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ABB0DC6-0311-9D4C-8333-A8862636E7AD}" type="slidenum">
              <a:rPr lang="en-GB" sz="800" smtClean="0">
                <a:latin typeface="Open Sans" pitchFamily="2" charset="0"/>
                <a:ea typeface="Open Sans" pitchFamily="2" charset="0"/>
                <a:cs typeface="Open Sans"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a:ln>
                <a:noFill/>
              </a:ln>
              <a:solidFill>
                <a:prstClr val="black">
                  <a:tint val="75000"/>
                </a:prstClr>
              </a:solidFill>
              <a:effectLst/>
              <a:uLnTx/>
              <a:uFillTx/>
              <a:latin typeface="Open Sans" pitchFamily="2" charset="0"/>
              <a:ea typeface="Open Sans" pitchFamily="2" charset="0"/>
              <a:cs typeface="Open Sans" pitchFamily="2" charset="0"/>
            </a:endParaRPr>
          </a:p>
        </p:txBody>
      </p:sp>
    </p:spTree>
    <p:extLst>
      <p:ext uri="{BB962C8B-B14F-4D97-AF65-F5344CB8AC3E}">
        <p14:creationId xmlns:p14="http://schemas.microsoft.com/office/powerpoint/2010/main" val="2047173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88C1DD2-2DA8-F049-AB4A-B3AF0238E15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Objekt 3" hidden="1">
                        <a:extLst>
                          <a:ext uri="{FF2B5EF4-FFF2-40B4-BE49-F238E27FC236}">
                            <a16:creationId xmlns:a16="http://schemas.microsoft.com/office/drawing/2014/main" id="{F88C1DD2-2DA8-F049-AB4A-B3AF0238E1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33EAE39-6D4E-4B69-9172-3D4BF616EE91}"/>
              </a:ext>
            </a:extLst>
          </p:cNvPr>
          <p:cNvSpPr/>
          <p:nvPr/>
        </p:nvSpPr>
        <p:spPr>
          <a:xfrm>
            <a:off x="619645" y="1306490"/>
            <a:ext cx="1511309" cy="510063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benefits = </a:t>
            </a:r>
            <a:b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b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gains in the</a:t>
            </a:r>
            <a:b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processes</a:t>
            </a:r>
            <a:b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time, </a:t>
            </a:r>
            <a:b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system time, cost savings, capacity, reliability, quality, </a:t>
            </a:r>
            <a:b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safety)</a:t>
            </a:r>
            <a:b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b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br>
            <a:r>
              <a:rPr kumimoji="0" lang="en-GB" sz="1400" b="1" i="0" u="none" strike="noStrike" kern="1200" cap="none" spc="0" normalizeH="0" baseline="0" noProof="0">
                <a:ln>
                  <a:noFill/>
                </a:ln>
                <a:solidFill>
                  <a:prstClr val="white"/>
                </a:solidFill>
                <a:effectLst/>
                <a:uLnTx/>
                <a:uFillTx/>
                <a:latin typeface="Open Sans" pitchFamily="2" charset="0"/>
                <a:ea typeface="Open Sans" pitchFamily="2" charset="0"/>
                <a:cs typeface="Open Sans" pitchFamily="2" charset="0"/>
              </a:rPr>
              <a:t>+ induced modal shift</a:t>
            </a:r>
          </a:p>
        </p:txBody>
      </p:sp>
      <p:sp>
        <p:nvSpPr>
          <p:cNvPr id="9" name="Content Placeholder 2">
            <a:extLst>
              <a:ext uri="{FF2B5EF4-FFF2-40B4-BE49-F238E27FC236}">
                <a16:creationId xmlns:a16="http://schemas.microsoft.com/office/drawing/2014/main" id="{21D441F1-81D5-AF4B-C51B-CF9914005743}"/>
              </a:ext>
            </a:extLst>
          </p:cNvPr>
          <p:cNvSpPr txBox="1">
            <a:spLocks/>
          </p:cNvSpPr>
          <p:nvPr/>
        </p:nvSpPr>
        <p:spPr>
          <a:xfrm>
            <a:off x="2426332" y="1322691"/>
            <a:ext cx="1507939" cy="2585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DAC core system</a:t>
            </a:r>
          </a:p>
        </p:txBody>
      </p:sp>
      <p:graphicFrame>
        <p:nvGraphicFramePr>
          <p:cNvPr id="3" name="Table 2">
            <a:extLst>
              <a:ext uri="{FF2B5EF4-FFF2-40B4-BE49-F238E27FC236}">
                <a16:creationId xmlns:a16="http://schemas.microsoft.com/office/drawing/2014/main" id="{73647263-EED8-9C97-E714-5382F07A039B}"/>
              </a:ext>
            </a:extLst>
          </p:cNvPr>
          <p:cNvGraphicFramePr>
            <a:graphicFrameLocks noGrp="1"/>
          </p:cNvGraphicFramePr>
          <p:nvPr/>
        </p:nvGraphicFramePr>
        <p:xfrm>
          <a:off x="3648974" y="1641452"/>
          <a:ext cx="3662026" cy="1195662"/>
        </p:xfrm>
        <a:graphic>
          <a:graphicData uri="http://schemas.openxmlformats.org/drawingml/2006/table">
            <a:tbl>
              <a:tblPr>
                <a:tableStyleId>{37CE84F3-28C3-443E-9E96-99CF82512B78}</a:tableStyleId>
              </a:tblPr>
              <a:tblGrid>
                <a:gridCol w="3662026">
                  <a:extLst>
                    <a:ext uri="{9D8B030D-6E8A-4147-A177-3AD203B41FA5}">
                      <a16:colId xmlns:a16="http://schemas.microsoft.com/office/drawing/2014/main" val="3669395582"/>
                    </a:ext>
                  </a:extLst>
                </a:gridCol>
              </a:tblGrid>
              <a:tr h="102762">
                <a:tc>
                  <a:txBody>
                    <a:bodyPr/>
                    <a:lstStyle/>
                    <a:p>
                      <a:pPr marL="171450" indent="-171450" algn="l" rtl="0" fontAlgn="ctr">
                        <a:buFont typeface="Calibri" panose="020F0502020204030204" pitchFamily="34" charset="0"/>
                        <a:buChar char="›"/>
                      </a:pPr>
                      <a:r>
                        <a:rPr lang="en-GB" sz="1100" b="1" u="none" strike="noStrike">
                          <a:solidFill>
                            <a:srgbClr val="C00000"/>
                          </a:solidFill>
                          <a:effectLst/>
                          <a:latin typeface="Calibri" panose="020F0502020204030204" pitchFamily="34" charset="0"/>
                          <a:cs typeface="Calibri" panose="020F0502020204030204" pitchFamily="34" charset="0"/>
                        </a:rPr>
                        <a:t>Automated coupling &amp; manual uncoupling </a:t>
                      </a:r>
                      <a:br>
                        <a:rPr lang="en-GB" sz="1100" b="1" u="none" strike="noStrike">
                          <a:solidFill>
                            <a:srgbClr val="C00000"/>
                          </a:solidFill>
                          <a:effectLst/>
                          <a:latin typeface="Calibri" panose="020F0502020204030204" pitchFamily="34" charset="0"/>
                          <a:cs typeface="Calibri" panose="020F0502020204030204" pitchFamily="34" charset="0"/>
                        </a:rPr>
                      </a:br>
                      <a:r>
                        <a:rPr lang="en-GB" sz="1100" b="1" u="none" strike="noStrike">
                          <a:solidFill>
                            <a:srgbClr val="C00000"/>
                          </a:solidFill>
                          <a:effectLst/>
                          <a:latin typeface="Calibri" panose="020F0502020204030204" pitchFamily="34" charset="0"/>
                          <a:cs typeface="Calibri" panose="020F0502020204030204" pitchFamily="34" charset="0"/>
                        </a:rPr>
                        <a:t>and digital backbone</a:t>
                      </a:r>
                      <a:endParaRPr lang="en-GB" sz="1100" b="1" i="0" u="none" strike="noStrike">
                        <a:solidFill>
                          <a:srgbClr val="C00000"/>
                        </a:solidFill>
                        <a:effectLst/>
                        <a:latin typeface="Calibri" panose="020F0502020204030204" pitchFamily="34" charset="0"/>
                        <a:cs typeface="Calibri" panose="020F0502020204030204" pitchFamily="34" charset="0"/>
                      </a:endParaRPr>
                    </a:p>
                  </a:txBody>
                  <a:tcPr marL="3697" marR="3697" marT="3697"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00848380"/>
                  </a:ext>
                </a:extLst>
              </a:tr>
              <a:tr h="102762">
                <a:tc>
                  <a:txBody>
                    <a:bodyPr/>
                    <a:lstStyle/>
                    <a:p>
                      <a:pPr marL="171450" indent="-171450" algn="l" rtl="0" fontAlgn="b">
                        <a:buFont typeface="Calibri" panose="020F0502020204030204" pitchFamily="34" charset="0"/>
                        <a:buChar char="›"/>
                      </a:pPr>
                      <a:r>
                        <a:rPr lang="en-GB" sz="1100" b="1" u="none" strike="noStrike">
                          <a:solidFill>
                            <a:srgbClr val="C00000"/>
                          </a:solidFill>
                          <a:effectLst/>
                          <a:latin typeface="Calibri" panose="020F0502020204030204" pitchFamily="34" charset="0"/>
                          <a:cs typeface="Calibri" panose="020F0502020204030204" pitchFamily="34" charset="0"/>
                        </a:rPr>
                        <a:t>Recording of train composition</a:t>
                      </a:r>
                      <a:endParaRPr lang="en-GB" sz="1100" b="1" i="0" u="none" strike="noStrike">
                        <a:solidFill>
                          <a:srgbClr val="C00000"/>
                        </a:solidFill>
                        <a:effectLst/>
                        <a:latin typeface="Calibri" panose="020F0502020204030204" pitchFamily="34" charset="0"/>
                        <a:cs typeface="Calibri" panose="020F0502020204030204" pitchFamily="34" charset="0"/>
                      </a:endParaRPr>
                    </a:p>
                  </a:txBody>
                  <a:tcPr marL="3697" marR="3697" marT="3697" marB="0" anchor="b">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998497182"/>
                  </a:ext>
                </a:extLst>
              </a:tr>
              <a:tr h="102762">
                <a:tc>
                  <a:txBody>
                    <a:bodyPr/>
                    <a:lstStyle/>
                    <a:p>
                      <a:pPr marL="171450" indent="-171450" algn="l" rtl="0" fontAlgn="b">
                        <a:buFont typeface="Calibri" panose="020F0502020204030204" pitchFamily="34" charset="0"/>
                        <a:buChar char="›"/>
                      </a:pPr>
                      <a:r>
                        <a:rPr lang="en-GB" sz="1100" b="1" u="none" strike="noStrike">
                          <a:solidFill>
                            <a:srgbClr val="C00000"/>
                          </a:solidFill>
                          <a:effectLst/>
                          <a:latin typeface="Calibri" panose="020F0502020204030204" pitchFamily="34" charset="0"/>
                          <a:cs typeface="Calibri" panose="020F0502020204030204" pitchFamily="34" charset="0"/>
                        </a:rPr>
                        <a:t>Automatic (in-train </a:t>
                      </a:r>
                      <a:r>
                        <a:rPr lang="en-GB" sz="1100" b="0" u="none" strike="noStrike">
                          <a:solidFill>
                            <a:schemeClr val="tx1"/>
                          </a:solidFill>
                          <a:effectLst/>
                          <a:latin typeface="Calibri" panose="020F0502020204030204" pitchFamily="34" charset="0"/>
                          <a:cs typeface="Calibri" panose="020F0502020204030204" pitchFamily="34" charset="0"/>
                        </a:rPr>
                        <a:t>and remote</a:t>
                      </a:r>
                      <a:r>
                        <a:rPr lang="en-GB" sz="1100" b="1" u="none" strike="noStrike">
                          <a:solidFill>
                            <a:srgbClr val="C00000"/>
                          </a:solidFill>
                          <a:effectLst/>
                          <a:latin typeface="Calibri" panose="020F0502020204030204" pitchFamily="34" charset="0"/>
                          <a:cs typeface="Calibri" panose="020F0502020204030204" pitchFamily="34" charset="0"/>
                        </a:rPr>
                        <a:t>) uncoupling</a:t>
                      </a:r>
                      <a:endParaRPr lang="en-GB" sz="1100" b="1" i="0" u="none" strike="noStrike">
                        <a:solidFill>
                          <a:srgbClr val="C00000"/>
                        </a:solidFill>
                        <a:effectLst/>
                        <a:latin typeface="Calibri" panose="020F0502020204030204" pitchFamily="34" charset="0"/>
                        <a:cs typeface="Calibri" panose="020F0502020204030204" pitchFamily="34" charset="0"/>
                      </a:endParaRPr>
                    </a:p>
                  </a:txBody>
                  <a:tcPr marL="3697" marR="3697" marT="3697"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1742451"/>
                  </a:ext>
                </a:extLst>
              </a:tr>
              <a:tr h="102762">
                <a:tc>
                  <a:txBody>
                    <a:bodyPr/>
                    <a:lstStyle/>
                    <a:p>
                      <a:pPr marL="171450" indent="-171450" algn="l" rtl="0" fontAlgn="b">
                        <a:buFont typeface="Calibri" panose="020F0502020204030204" pitchFamily="34" charset="0"/>
                        <a:buChar char="›"/>
                      </a:pPr>
                      <a:r>
                        <a:rPr lang="en-GB" sz="1100" b="1" u="none" strike="noStrike">
                          <a:solidFill>
                            <a:srgbClr val="C00000"/>
                          </a:solidFill>
                          <a:effectLst/>
                          <a:latin typeface="Calibri" panose="020F0502020204030204" pitchFamily="34" charset="0"/>
                          <a:cs typeface="Calibri" panose="020F0502020204030204" pitchFamily="34" charset="0"/>
                        </a:rPr>
                        <a:t>Heavier &amp; longer trains (within existing infra limitations)</a:t>
                      </a:r>
                      <a:endParaRPr lang="en-GB" sz="1100" b="1" i="0" u="none" strike="noStrike">
                        <a:solidFill>
                          <a:srgbClr val="C00000"/>
                        </a:solidFill>
                        <a:effectLst/>
                        <a:latin typeface="Calibri" panose="020F0502020204030204" pitchFamily="34" charset="0"/>
                        <a:cs typeface="Calibri" panose="020F0502020204030204" pitchFamily="34" charset="0"/>
                      </a:endParaRPr>
                    </a:p>
                  </a:txBody>
                  <a:tcPr marL="3697" marR="3697" marT="3697"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1533847"/>
                  </a:ext>
                </a:extLst>
              </a:tr>
              <a:tr h="102762">
                <a:tc>
                  <a:txBody>
                    <a:bodyPr/>
                    <a:lstStyle/>
                    <a:p>
                      <a:pPr marL="171450" indent="-171450" algn="l" rtl="0" fontAlgn="b">
                        <a:buFont typeface="Calibri" panose="020F0502020204030204" pitchFamily="34" charset="0"/>
                        <a:buChar char="›"/>
                      </a:pPr>
                      <a:r>
                        <a:rPr lang="en-GB" sz="1100" b="0" u="none" strike="noStrike">
                          <a:solidFill>
                            <a:srgbClr val="0A1D3E"/>
                          </a:solidFill>
                          <a:effectLst/>
                          <a:latin typeface="Calibri" panose="020F0502020204030204" pitchFamily="34" charset="0"/>
                          <a:cs typeface="Calibri" panose="020F0502020204030204" pitchFamily="34" charset="0"/>
                        </a:rPr>
                        <a:t>Increased payload</a:t>
                      </a:r>
                      <a:endParaRPr lang="en-GB" sz="1100" b="0" i="0" u="none" strike="noStrike">
                        <a:solidFill>
                          <a:srgbClr val="0A1D3E"/>
                        </a:solidFill>
                        <a:effectLst/>
                        <a:latin typeface="Calibri" panose="020F0502020204030204" pitchFamily="34" charset="0"/>
                        <a:cs typeface="Calibri" panose="020F0502020204030204" pitchFamily="34" charset="0"/>
                      </a:endParaRPr>
                    </a:p>
                  </a:txBody>
                  <a:tcPr marL="3697" marR="3697" marT="3697"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5974265"/>
                  </a:ext>
                </a:extLst>
              </a:tr>
              <a:tr h="103969">
                <a:tc>
                  <a:txBody>
                    <a:bodyPr/>
                    <a:lstStyle/>
                    <a:p>
                      <a:pPr marL="171450" indent="-171450" algn="l" rtl="0" fontAlgn="b">
                        <a:buFont typeface="Calibri" panose="020F0502020204030204" pitchFamily="34" charset="0"/>
                        <a:buChar char="›"/>
                      </a:pPr>
                      <a:r>
                        <a:rPr lang="en-GB" sz="1100" b="0" u="none" strike="noStrike">
                          <a:solidFill>
                            <a:srgbClr val="0A1D3E"/>
                          </a:solidFill>
                          <a:effectLst/>
                          <a:latin typeface="Calibri" panose="020F0502020204030204" pitchFamily="34" charset="0"/>
                          <a:cs typeface="Calibri" panose="020F0502020204030204" pitchFamily="34" charset="0"/>
                        </a:rPr>
                        <a:t>Increased speed via improved longitudinal forces</a:t>
                      </a:r>
                      <a:endParaRPr lang="en-GB" sz="1100" b="0" i="0" u="none" strike="noStrike">
                        <a:solidFill>
                          <a:srgbClr val="0A1D3E"/>
                        </a:solidFill>
                        <a:effectLst/>
                        <a:latin typeface="Calibri" panose="020F0502020204030204" pitchFamily="34" charset="0"/>
                        <a:cs typeface="Calibri" panose="020F0502020204030204" pitchFamily="34" charset="0"/>
                      </a:endParaRPr>
                    </a:p>
                  </a:txBody>
                  <a:tcPr marL="3697" marR="3697" marT="3697"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69469635"/>
                  </a:ext>
                </a:extLst>
              </a:tr>
            </a:tbl>
          </a:graphicData>
        </a:graphic>
      </p:graphicFrame>
      <p:sp>
        <p:nvSpPr>
          <p:cNvPr id="2" name="Title 1"/>
          <p:cNvSpPr>
            <a:spLocks noGrp="1"/>
          </p:cNvSpPr>
          <p:nvPr>
            <p:ph type="title"/>
          </p:nvPr>
        </p:nvSpPr>
        <p:spPr>
          <a:xfrm>
            <a:off x="1785221" y="230098"/>
            <a:ext cx="7821810" cy="742445"/>
          </a:xfrm>
          <a:noFill/>
        </p:spPr>
        <p:txBody>
          <a:bodyPr vert="horz">
            <a:noAutofit/>
          </a:bodyPr>
          <a:lstStyle/>
          <a:p>
            <a:r>
              <a:rPr lang="en-US" sz="2000" b="1">
                <a:solidFill>
                  <a:srgbClr val="132E63"/>
                </a:solidFill>
                <a:latin typeface="Open Sans" pitchFamily="2" charset="0"/>
                <a:ea typeface="Open Sans" pitchFamily="2" charset="0"/>
                <a:cs typeface="Open Sans" pitchFamily="2" charset="0"/>
              </a:rPr>
              <a:t>DAC core system &amp; applications</a:t>
            </a:r>
            <a:br>
              <a:rPr lang="en-US" sz="2000" b="1">
                <a:solidFill>
                  <a:srgbClr val="132E63"/>
                </a:solidFill>
                <a:latin typeface="Open Sans" pitchFamily="2" charset="0"/>
                <a:ea typeface="Open Sans" pitchFamily="2" charset="0"/>
                <a:cs typeface="Open Sans" pitchFamily="2" charset="0"/>
              </a:rPr>
            </a:br>
            <a:r>
              <a:rPr lang="en-US" sz="2000" b="1">
                <a:solidFill>
                  <a:srgbClr val="132E63"/>
                </a:solidFill>
                <a:latin typeface="Open Sans" pitchFamily="2" charset="0"/>
                <a:ea typeface="Open Sans" pitchFamily="2" charset="0"/>
                <a:cs typeface="Open Sans" pitchFamily="2" charset="0"/>
              </a:rPr>
              <a:t>(Full Digital Freight Train Operations)</a:t>
            </a:r>
          </a:p>
        </p:txBody>
      </p:sp>
      <p:sp>
        <p:nvSpPr>
          <p:cNvPr id="12" name="Slide Number Placeholder 11">
            <a:extLst>
              <a:ext uri="{FF2B5EF4-FFF2-40B4-BE49-F238E27FC236}">
                <a16:creationId xmlns:a16="http://schemas.microsoft.com/office/drawing/2014/main" id="{618690E0-9AB6-E649-9323-0C6B53DC290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D91C70-5C3D-E148-A360-4F6F11B94339}" type="slidenum">
              <a:rPr kumimoji="0" lang="de-AT" sz="799" b="0" i="0" u="none" strike="noStrike" kern="1200" cap="none" spc="0" normalizeH="0" baseline="0" noProof="0" smtClean="0">
                <a:ln>
                  <a:noFill/>
                </a:ln>
                <a:solidFill>
                  <a:srgbClr val="A5A5A5"/>
                </a:solidFill>
                <a:effectLst/>
                <a:uLnTx/>
                <a:uFillTx/>
                <a:latin typeface="Open Sans" pitchFamily="2" charset="0"/>
                <a:ea typeface="Open Sans" pitchFamily="2" charset="0"/>
                <a:cs typeface="Open Sans"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AT" sz="799" b="0" i="0" u="none" strike="noStrike" kern="1200" cap="none" spc="0" normalizeH="0" baseline="0" noProof="0">
              <a:ln>
                <a:noFill/>
              </a:ln>
              <a:solidFill>
                <a:srgbClr val="A5A5A5"/>
              </a:solidFill>
              <a:effectLst/>
              <a:uLnTx/>
              <a:uFillTx/>
              <a:latin typeface="Open Sans" pitchFamily="2" charset="0"/>
              <a:ea typeface="Open Sans" pitchFamily="2" charset="0"/>
              <a:cs typeface="Open Sans" pitchFamily="2" charset="0"/>
            </a:endParaRPr>
          </a:p>
        </p:txBody>
      </p:sp>
      <p:sp>
        <p:nvSpPr>
          <p:cNvPr id="11" name="Content Placeholder 2">
            <a:extLst>
              <a:ext uri="{FF2B5EF4-FFF2-40B4-BE49-F238E27FC236}">
                <a16:creationId xmlns:a16="http://schemas.microsoft.com/office/drawing/2014/main" id="{174228A4-6E3C-14B1-4C2C-87394F909400}"/>
              </a:ext>
            </a:extLst>
          </p:cNvPr>
          <p:cNvSpPr txBox="1">
            <a:spLocks/>
          </p:cNvSpPr>
          <p:nvPr/>
        </p:nvSpPr>
        <p:spPr>
          <a:xfrm>
            <a:off x="2698993" y="3254899"/>
            <a:ext cx="1867226" cy="2585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DAC train preparation</a:t>
            </a:r>
          </a:p>
        </p:txBody>
      </p:sp>
      <p:graphicFrame>
        <p:nvGraphicFramePr>
          <p:cNvPr id="5" name="Table 4">
            <a:extLst>
              <a:ext uri="{FF2B5EF4-FFF2-40B4-BE49-F238E27FC236}">
                <a16:creationId xmlns:a16="http://schemas.microsoft.com/office/drawing/2014/main" id="{585706A2-7D56-D575-EE76-CA69986A2467}"/>
              </a:ext>
            </a:extLst>
          </p:cNvPr>
          <p:cNvGraphicFramePr>
            <a:graphicFrameLocks noGrp="1"/>
          </p:cNvGraphicFramePr>
          <p:nvPr/>
        </p:nvGraphicFramePr>
        <p:xfrm>
          <a:off x="4711878" y="3597765"/>
          <a:ext cx="1879903" cy="805116"/>
        </p:xfrm>
        <a:graphic>
          <a:graphicData uri="http://schemas.openxmlformats.org/drawingml/2006/table">
            <a:tbl>
              <a:tblPr/>
              <a:tblGrid>
                <a:gridCol w="1879903">
                  <a:extLst>
                    <a:ext uri="{9D8B030D-6E8A-4147-A177-3AD203B41FA5}">
                      <a16:colId xmlns:a16="http://schemas.microsoft.com/office/drawing/2014/main" val="1018077978"/>
                    </a:ext>
                  </a:extLst>
                </a:gridCol>
              </a:tblGrid>
              <a:tr h="466139">
                <a:tc>
                  <a:txBody>
                    <a:bodyPr/>
                    <a:lstStyle/>
                    <a:p>
                      <a:pPr marL="171450" indent="-171450" algn="l" rtl="0" fontAlgn="b">
                        <a:buFont typeface="Calibri" panose="020F0502020204030204" pitchFamily="34" charset="0"/>
                        <a:buChar char="›"/>
                      </a:pPr>
                      <a:r>
                        <a:rPr lang="en-GB" sz="1100" b="1" i="0" u="none" strike="noStrike">
                          <a:solidFill>
                            <a:srgbClr val="C00000"/>
                          </a:solidFill>
                          <a:effectLst/>
                          <a:latin typeface="Calibri" panose="020F0502020204030204" pitchFamily="34" charset="0"/>
                        </a:rPr>
                        <a:t>Automatic brake test &amp; calculation of brake capacity</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18481216"/>
                  </a:ext>
                </a:extLst>
              </a:tr>
              <a:tr h="330128">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Automated technical wagon inspection</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8453904"/>
                  </a:ext>
                </a:extLst>
              </a:tr>
            </a:tbl>
          </a:graphicData>
        </a:graphic>
      </p:graphicFrame>
      <p:sp>
        <p:nvSpPr>
          <p:cNvPr id="15" name="Content Placeholder 2">
            <a:extLst>
              <a:ext uri="{FF2B5EF4-FFF2-40B4-BE49-F238E27FC236}">
                <a16:creationId xmlns:a16="http://schemas.microsoft.com/office/drawing/2014/main" id="{CB891620-60F0-71EA-33C0-4D1A6B341985}"/>
              </a:ext>
            </a:extLst>
          </p:cNvPr>
          <p:cNvSpPr txBox="1">
            <a:spLocks/>
          </p:cNvSpPr>
          <p:nvPr/>
        </p:nvSpPr>
        <p:spPr>
          <a:xfrm>
            <a:off x="7835305" y="1193184"/>
            <a:ext cx="1218141" cy="2585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DAC shunting</a:t>
            </a:r>
          </a:p>
        </p:txBody>
      </p:sp>
      <p:graphicFrame>
        <p:nvGraphicFramePr>
          <p:cNvPr id="13" name="Table 12">
            <a:extLst>
              <a:ext uri="{FF2B5EF4-FFF2-40B4-BE49-F238E27FC236}">
                <a16:creationId xmlns:a16="http://schemas.microsoft.com/office/drawing/2014/main" id="{52071948-7022-0E47-37F4-938D8CAF303F}"/>
              </a:ext>
            </a:extLst>
          </p:cNvPr>
          <p:cNvGraphicFramePr>
            <a:graphicFrameLocks noGrp="1"/>
          </p:cNvGraphicFramePr>
          <p:nvPr/>
        </p:nvGraphicFramePr>
        <p:xfrm>
          <a:off x="9607031" y="1627573"/>
          <a:ext cx="2222160" cy="685348"/>
        </p:xfrm>
        <a:graphic>
          <a:graphicData uri="http://schemas.openxmlformats.org/drawingml/2006/table">
            <a:tbl>
              <a:tblPr/>
              <a:tblGrid>
                <a:gridCol w="2222160">
                  <a:extLst>
                    <a:ext uri="{9D8B030D-6E8A-4147-A177-3AD203B41FA5}">
                      <a16:colId xmlns:a16="http://schemas.microsoft.com/office/drawing/2014/main" val="3473364739"/>
                    </a:ext>
                  </a:extLst>
                </a:gridCol>
              </a:tblGrid>
              <a:tr h="79583">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Automated parking brake</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7403052"/>
                  </a:ext>
                </a:extLst>
              </a:tr>
              <a:tr h="102762">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Rear view camera for train driver</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074386"/>
                  </a:ext>
                </a:extLst>
              </a:tr>
              <a:tr h="102762">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Proximity detection</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2367493"/>
                  </a:ext>
                </a:extLst>
              </a:tr>
              <a:tr h="102762">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Sound signals when train in motion</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9822775"/>
                  </a:ext>
                </a:extLst>
              </a:tr>
            </a:tbl>
          </a:graphicData>
        </a:graphic>
      </p:graphicFrame>
      <p:sp>
        <p:nvSpPr>
          <p:cNvPr id="16" name="Content Placeholder 2">
            <a:extLst>
              <a:ext uri="{FF2B5EF4-FFF2-40B4-BE49-F238E27FC236}">
                <a16:creationId xmlns:a16="http://schemas.microsoft.com/office/drawing/2014/main" id="{4E064F6B-0EA1-7EBD-ED64-8AD76BA188E3}"/>
              </a:ext>
            </a:extLst>
          </p:cNvPr>
          <p:cNvSpPr txBox="1">
            <a:spLocks/>
          </p:cNvSpPr>
          <p:nvPr/>
        </p:nvSpPr>
        <p:spPr>
          <a:xfrm>
            <a:off x="7311000" y="2833745"/>
            <a:ext cx="1329922" cy="2585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DAC train run</a:t>
            </a:r>
          </a:p>
        </p:txBody>
      </p:sp>
      <p:graphicFrame>
        <p:nvGraphicFramePr>
          <p:cNvPr id="17" name="Table 16">
            <a:extLst>
              <a:ext uri="{FF2B5EF4-FFF2-40B4-BE49-F238E27FC236}">
                <a16:creationId xmlns:a16="http://schemas.microsoft.com/office/drawing/2014/main" id="{8A3B64DD-039E-1D7F-38D9-0767BC036373}"/>
              </a:ext>
            </a:extLst>
          </p:cNvPr>
          <p:cNvGraphicFramePr>
            <a:graphicFrameLocks noGrp="1"/>
          </p:cNvGraphicFramePr>
          <p:nvPr/>
        </p:nvGraphicFramePr>
        <p:xfrm>
          <a:off x="9208203" y="3199239"/>
          <a:ext cx="2855345" cy="1020628"/>
        </p:xfrm>
        <a:graphic>
          <a:graphicData uri="http://schemas.openxmlformats.org/drawingml/2006/table">
            <a:tbl>
              <a:tblPr/>
              <a:tblGrid>
                <a:gridCol w="2855345">
                  <a:extLst>
                    <a:ext uri="{9D8B030D-6E8A-4147-A177-3AD203B41FA5}">
                      <a16:colId xmlns:a16="http://schemas.microsoft.com/office/drawing/2014/main" val="4183965915"/>
                    </a:ext>
                  </a:extLst>
                </a:gridCol>
              </a:tblGrid>
              <a:tr h="112287">
                <a:tc>
                  <a:txBody>
                    <a:bodyPr/>
                    <a:lstStyle/>
                    <a:p>
                      <a:pPr marL="171450" indent="-171450" algn="l" rtl="0" fontAlgn="ctr">
                        <a:buFont typeface="Calibri" panose="020F0502020204030204" pitchFamily="34" charset="0"/>
                        <a:buChar char="›"/>
                      </a:pPr>
                      <a:r>
                        <a:rPr lang="en-GB" sz="1100" b="1" i="0" u="none" strike="noStrike">
                          <a:solidFill>
                            <a:srgbClr val="C00000"/>
                          </a:solidFill>
                          <a:effectLst/>
                          <a:latin typeface="Calibri" panose="020F0502020204030204" pitchFamily="34" charset="0"/>
                        </a:rPr>
                        <a:t>Train integrity</a:t>
                      </a:r>
                      <a:r>
                        <a:rPr lang="en-GB" sz="1100" b="0" i="0" u="none" strike="noStrike">
                          <a:solidFill>
                            <a:srgbClr val="0A1D3E"/>
                          </a:solidFill>
                          <a:effectLst/>
                          <a:latin typeface="Calibri" panose="020F0502020204030204" pitchFamily="34" charset="0"/>
                        </a:rPr>
                        <a:t>, enabling ETCS L3 moving block operations</a:t>
                      </a:r>
                    </a:p>
                  </a:txBody>
                  <a:tcPr marL="3697" marR="3697" marT="369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5885883"/>
                  </a:ext>
                </a:extLst>
              </a:tr>
              <a:tr h="102762">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Increased speed via better braking performance</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4517101"/>
                  </a:ext>
                </a:extLst>
              </a:tr>
              <a:tr h="102762">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Multiple loco traction and trains up to 1500m</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1224252"/>
                  </a:ext>
                </a:extLst>
              </a:tr>
              <a:tr h="145150">
                <a:tc>
                  <a:txBody>
                    <a:bodyPr/>
                    <a:lstStyle/>
                    <a:p>
                      <a:pPr marL="171450" indent="-171450" algn="l" rtl="0" fontAlgn="ctr">
                        <a:buFont typeface="Calibri" panose="020F0502020204030204" pitchFamily="34" charset="0"/>
                        <a:buChar char="›"/>
                      </a:pPr>
                      <a:r>
                        <a:rPr lang="en-GB" sz="1100" b="0" i="0" u="none" strike="noStrike">
                          <a:solidFill>
                            <a:srgbClr val="0A1D3E"/>
                          </a:solidFill>
                          <a:effectLst/>
                          <a:latin typeface="Calibri" panose="020F0502020204030204" pitchFamily="34" charset="0"/>
                        </a:rPr>
                        <a:t>Derailment detection</a:t>
                      </a:r>
                    </a:p>
                  </a:txBody>
                  <a:tcPr marL="3697" marR="3697" marT="369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412450"/>
                  </a:ext>
                </a:extLst>
              </a:tr>
            </a:tbl>
          </a:graphicData>
        </a:graphic>
      </p:graphicFrame>
      <p:sp>
        <p:nvSpPr>
          <p:cNvPr id="18" name="Content Placeholder 2">
            <a:extLst>
              <a:ext uri="{FF2B5EF4-FFF2-40B4-BE49-F238E27FC236}">
                <a16:creationId xmlns:a16="http://schemas.microsoft.com/office/drawing/2014/main" id="{19EE38AF-2B15-9113-2BC0-1B212796FB33}"/>
              </a:ext>
            </a:extLst>
          </p:cNvPr>
          <p:cNvSpPr txBox="1">
            <a:spLocks/>
          </p:cNvSpPr>
          <p:nvPr/>
        </p:nvSpPr>
        <p:spPr>
          <a:xfrm>
            <a:off x="2156948" y="4839684"/>
            <a:ext cx="2366651" cy="4247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DAC telematics</a:t>
            </a:r>
            <a:b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br>
            <a: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wagon &amp; goods monitoring)</a:t>
            </a:r>
          </a:p>
        </p:txBody>
      </p:sp>
      <p:graphicFrame>
        <p:nvGraphicFramePr>
          <p:cNvPr id="19" name="Table 18">
            <a:extLst>
              <a:ext uri="{FF2B5EF4-FFF2-40B4-BE49-F238E27FC236}">
                <a16:creationId xmlns:a16="http://schemas.microsoft.com/office/drawing/2014/main" id="{B72ABD95-9B4D-C9EF-67E3-5A29B72FA537}"/>
              </a:ext>
            </a:extLst>
          </p:cNvPr>
          <p:cNvGraphicFramePr>
            <a:graphicFrameLocks noGrp="1"/>
          </p:cNvGraphicFramePr>
          <p:nvPr/>
        </p:nvGraphicFramePr>
        <p:xfrm>
          <a:off x="4092790" y="5413032"/>
          <a:ext cx="2366651" cy="942814"/>
        </p:xfrm>
        <a:graphic>
          <a:graphicData uri="http://schemas.openxmlformats.org/drawingml/2006/table">
            <a:tbl>
              <a:tblPr/>
              <a:tblGrid>
                <a:gridCol w="2366651">
                  <a:extLst>
                    <a:ext uri="{9D8B030D-6E8A-4147-A177-3AD203B41FA5}">
                      <a16:colId xmlns:a16="http://schemas.microsoft.com/office/drawing/2014/main" val="1825282613"/>
                    </a:ext>
                  </a:extLst>
                </a:gridCol>
              </a:tblGrid>
              <a:tr h="201279">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Predictive / preventive maintenance</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3547951"/>
                  </a:ext>
                </a:extLst>
              </a:tr>
              <a:tr h="201279">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detection of cargo condition</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8142276"/>
                  </a:ext>
                </a:extLst>
              </a:tr>
              <a:tr h="201279">
                <a:tc>
                  <a:txBody>
                    <a:bodyPr/>
                    <a:lstStyle/>
                    <a:p>
                      <a:pPr marL="171450" indent="-171450" algn="l" rtl="0" fontAlgn="b">
                        <a:buFont typeface="Calibri" panose="020F0502020204030204" pitchFamily="34" charset="0"/>
                        <a:buChar char="›"/>
                      </a:pPr>
                      <a:r>
                        <a:rPr lang="en-GB" sz="1100" b="0" i="0" u="none" strike="noStrike">
                          <a:solidFill>
                            <a:srgbClr val="0A1D3E"/>
                          </a:solidFill>
                          <a:effectLst/>
                          <a:latin typeface="Calibri" panose="020F0502020204030204" pitchFamily="34" charset="0"/>
                        </a:rPr>
                        <a:t>Cargo surveillance, intrusion alarm</a:t>
                      </a:r>
                    </a:p>
                  </a:txBody>
                  <a:tcPr marL="3697" marR="3697" marT="3697"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0000998"/>
                  </a:ext>
                </a:extLst>
              </a:tr>
              <a:tr h="201279">
                <a:tc>
                  <a:txBody>
                    <a:bodyPr/>
                    <a:lstStyle/>
                    <a:p>
                      <a:pPr marL="171450" indent="-171450" algn="l" rtl="0" fontAlgn="ctr">
                        <a:buFont typeface="Calibri" panose="020F0502020204030204" pitchFamily="34" charset="0"/>
                        <a:buChar char="›"/>
                      </a:pPr>
                      <a:r>
                        <a:rPr lang="en-GB" sz="1100" b="0" i="0" u="none" strike="noStrike">
                          <a:solidFill>
                            <a:srgbClr val="0A1D3E"/>
                          </a:solidFill>
                          <a:effectLst/>
                          <a:latin typeface="Calibri" panose="020F0502020204030204" pitchFamily="34" charset="0"/>
                        </a:rPr>
                        <a:t>Wagon data &amp; loading information </a:t>
                      </a:r>
                      <a:br>
                        <a:rPr lang="en-GB" sz="1100" b="0" i="0" u="none" strike="noStrike">
                          <a:solidFill>
                            <a:srgbClr val="0A1D3E"/>
                          </a:solidFill>
                          <a:effectLst/>
                          <a:latin typeface="Calibri" panose="020F0502020204030204" pitchFamily="34" charset="0"/>
                        </a:rPr>
                      </a:br>
                      <a:r>
                        <a:rPr lang="en-GB" sz="1100" b="0" i="0" u="none" strike="noStrike">
                          <a:solidFill>
                            <a:srgbClr val="0A1D3E"/>
                          </a:solidFill>
                          <a:effectLst/>
                          <a:latin typeface="Calibri" panose="020F0502020204030204" pitchFamily="34" charset="0"/>
                        </a:rPr>
                        <a:t>on mobile device</a:t>
                      </a:r>
                    </a:p>
                  </a:txBody>
                  <a:tcPr marL="3697" marR="3697" marT="369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43377747"/>
                  </a:ext>
                </a:extLst>
              </a:tr>
            </a:tbl>
          </a:graphicData>
        </a:graphic>
      </p:graphicFrame>
      <p:pic>
        <p:nvPicPr>
          <p:cNvPr id="21" name="Grafik 18" descr="Ein Bild, das Text, Mikroskop, Maschine, Fräse enthält.&#10;&#10;Automatisch generierte Beschreibung">
            <a:extLst>
              <a:ext uri="{FF2B5EF4-FFF2-40B4-BE49-F238E27FC236}">
                <a16:creationId xmlns:a16="http://schemas.microsoft.com/office/drawing/2014/main" id="{B337FF06-7E52-0E19-7F37-251C1382A4F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368252" y="1635914"/>
            <a:ext cx="1223082" cy="1222876"/>
          </a:xfrm>
          <a:prstGeom prst="hexagon">
            <a:avLst>
              <a:gd name="adj" fmla="val 20782"/>
              <a:gd name="vf" fmla="val 115470"/>
            </a:avLst>
          </a:prstGeom>
          <a:ln>
            <a:solidFill>
              <a:schemeClr val="accent5"/>
            </a:solidFill>
          </a:ln>
        </p:spPr>
      </p:pic>
      <p:sp>
        <p:nvSpPr>
          <p:cNvPr id="23" name="Content Placeholder 2">
            <a:extLst>
              <a:ext uri="{FF2B5EF4-FFF2-40B4-BE49-F238E27FC236}">
                <a16:creationId xmlns:a16="http://schemas.microsoft.com/office/drawing/2014/main" id="{7D3F5FF3-CCB0-5A04-A568-2680E87AEA0D}"/>
              </a:ext>
            </a:extLst>
          </p:cNvPr>
          <p:cNvSpPr txBox="1">
            <a:spLocks/>
          </p:cNvSpPr>
          <p:nvPr/>
        </p:nvSpPr>
        <p:spPr>
          <a:xfrm>
            <a:off x="6843963" y="4484752"/>
            <a:ext cx="1301395" cy="4247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80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DAC loading</a:t>
            </a:r>
            <a:b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br>
            <a:r>
              <a:rPr kumimoji="0" lang="en-US" sz="1200" b="1" i="0" u="none" strike="noStrike" kern="1200" cap="none" spc="0" normalizeH="0" baseline="0" noProof="0">
                <a:ln>
                  <a:noFill/>
                </a:ln>
                <a:solidFill>
                  <a:srgbClr val="1B4A69"/>
                </a:solidFill>
                <a:effectLst/>
                <a:uLnTx/>
                <a:uFillTx/>
                <a:latin typeface="Open Sans" pitchFamily="2" charset="0"/>
                <a:ea typeface="Open Sans" pitchFamily="2" charset="0"/>
                <a:cs typeface="Open Sans" pitchFamily="2" charset="0"/>
              </a:rPr>
              <a:t>&amp; unloading</a:t>
            </a:r>
          </a:p>
        </p:txBody>
      </p:sp>
      <p:graphicFrame>
        <p:nvGraphicFramePr>
          <p:cNvPr id="6" name="Table 5">
            <a:extLst>
              <a:ext uri="{FF2B5EF4-FFF2-40B4-BE49-F238E27FC236}">
                <a16:creationId xmlns:a16="http://schemas.microsoft.com/office/drawing/2014/main" id="{64E09742-96E8-E498-D4C9-4CB018B07250}"/>
              </a:ext>
            </a:extLst>
          </p:cNvPr>
          <p:cNvGraphicFramePr>
            <a:graphicFrameLocks noGrp="1"/>
          </p:cNvGraphicFramePr>
          <p:nvPr/>
        </p:nvGraphicFramePr>
        <p:xfrm>
          <a:off x="8264511" y="5106185"/>
          <a:ext cx="3498453" cy="1002382"/>
        </p:xfrm>
        <a:graphic>
          <a:graphicData uri="http://schemas.openxmlformats.org/drawingml/2006/table">
            <a:tbl>
              <a:tblPr/>
              <a:tblGrid>
                <a:gridCol w="3498453">
                  <a:extLst>
                    <a:ext uri="{9D8B030D-6E8A-4147-A177-3AD203B41FA5}">
                      <a16:colId xmlns:a16="http://schemas.microsoft.com/office/drawing/2014/main" val="4285893321"/>
                    </a:ext>
                  </a:extLst>
                </a:gridCol>
              </a:tblGrid>
              <a:tr h="799276">
                <a:tc>
                  <a:txBody>
                    <a:bodyPr/>
                    <a:lstStyle/>
                    <a:p>
                      <a:pPr marL="171450" indent="-171450" algn="l" rtl="0" fontAlgn="ctr">
                        <a:buFont typeface="Calibri" panose="020F0502020204030204" pitchFamily="34" charset="0"/>
                        <a:buChar char="›"/>
                      </a:pPr>
                      <a:r>
                        <a:rPr lang="en-GB" sz="1100" b="0" i="0" u="none" strike="noStrike">
                          <a:solidFill>
                            <a:srgbClr val="0A1D3E"/>
                          </a:solidFill>
                          <a:effectLst/>
                          <a:latin typeface="Calibri" panose="020F0502020204030204" pitchFamily="34" charset="0"/>
                        </a:rPr>
                        <a:t>Automatic loading/unloading processes (replacement</a:t>
                      </a:r>
                      <a:br>
                        <a:rPr lang="en-GB" sz="1100" b="0" i="0" u="none" strike="noStrike">
                          <a:solidFill>
                            <a:srgbClr val="0A1D3E"/>
                          </a:solidFill>
                          <a:effectLst/>
                          <a:latin typeface="Calibri" panose="020F0502020204030204" pitchFamily="34" charset="0"/>
                        </a:rPr>
                      </a:br>
                      <a:r>
                        <a:rPr lang="en-GB" sz="1100" b="0" i="0" u="none" strike="noStrike">
                          <a:solidFill>
                            <a:srgbClr val="0A1D3E"/>
                          </a:solidFill>
                          <a:effectLst/>
                          <a:latin typeface="Calibri" panose="020F0502020204030204" pitchFamily="34" charset="0"/>
                        </a:rPr>
                        <a:t>of </a:t>
                      </a:r>
                      <a:r>
                        <a:rPr lang="en-GB" sz="1100" b="0" i="0" u="none" strike="noStrike" err="1">
                          <a:solidFill>
                            <a:srgbClr val="0A1D3E"/>
                          </a:solidFill>
                          <a:effectLst/>
                          <a:latin typeface="Calibri" panose="020F0502020204030204" pitchFamily="34" charset="0"/>
                        </a:rPr>
                        <a:t>hydr</a:t>
                      </a:r>
                      <a:r>
                        <a:rPr lang="en-GB" sz="1100" b="0" i="0" u="none" strike="noStrike">
                          <a:solidFill>
                            <a:srgbClr val="0A1D3E"/>
                          </a:solidFill>
                          <a:effectLst/>
                          <a:latin typeface="Calibri" panose="020F0502020204030204" pitchFamily="34" charset="0"/>
                        </a:rPr>
                        <a:t>/</a:t>
                      </a:r>
                      <a:r>
                        <a:rPr lang="en-GB" sz="1100" b="0" i="0" u="none" strike="noStrike" err="1">
                          <a:solidFill>
                            <a:srgbClr val="0A1D3E"/>
                          </a:solidFill>
                          <a:effectLst/>
                          <a:latin typeface="Calibri" panose="020F0502020204030204" pitchFamily="34" charset="0"/>
                        </a:rPr>
                        <a:t>pneum</a:t>
                      </a:r>
                      <a:r>
                        <a:rPr lang="en-GB" sz="1100" b="0" i="0" u="none" strike="noStrike">
                          <a:solidFill>
                            <a:srgbClr val="0A1D3E"/>
                          </a:solidFill>
                          <a:effectLst/>
                          <a:latin typeface="Calibri" panose="020F0502020204030204" pitchFamily="34" charset="0"/>
                        </a:rPr>
                        <a:t> components, electro-mechanical actuators for bridge plates, automated cargo securing, heating elements for defrosting, …) via ext. energy supply</a:t>
                      </a:r>
                    </a:p>
                  </a:txBody>
                  <a:tcPr marL="3697" marR="3697" marT="369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8081643"/>
                  </a:ext>
                </a:extLst>
              </a:tr>
              <a:tr h="203106">
                <a:tc>
                  <a:txBody>
                    <a:bodyPr/>
                    <a:lstStyle/>
                    <a:p>
                      <a:pPr marL="171450" indent="-171450" algn="l" rtl="0" fontAlgn="ctr">
                        <a:buFont typeface="Calibri" panose="020F0502020204030204" pitchFamily="34" charset="0"/>
                        <a:buChar char="›"/>
                      </a:pPr>
                      <a:r>
                        <a:rPr lang="en-GB" sz="1100" b="0" i="0" u="none" strike="noStrike">
                          <a:solidFill>
                            <a:srgbClr val="0A1D3E"/>
                          </a:solidFill>
                          <a:effectLst/>
                          <a:latin typeface="Calibri" panose="020F0502020204030204" pitchFamily="34" charset="0"/>
                        </a:rPr>
                        <a:t>illumination for worker's safety &amp; interior</a:t>
                      </a:r>
                    </a:p>
                  </a:txBody>
                  <a:tcPr marL="3697" marR="3697" marT="369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318771"/>
                  </a:ext>
                </a:extLst>
              </a:tr>
            </a:tbl>
          </a:graphicData>
        </a:graphic>
      </p:graphicFrame>
      <p:pic>
        <p:nvPicPr>
          <p:cNvPr id="27" name="Picture 26" descr="A picture containing text&#10;&#10;Description automatically generated">
            <a:extLst>
              <a:ext uri="{FF2B5EF4-FFF2-40B4-BE49-F238E27FC236}">
                <a16:creationId xmlns:a16="http://schemas.microsoft.com/office/drawing/2014/main" id="{CA49173E-3127-33D3-C324-FF5E18E2A75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8016" b="-8016"/>
          <a:stretch/>
        </p:blipFill>
        <p:spPr>
          <a:xfrm>
            <a:off x="7492368" y="1375793"/>
            <a:ext cx="1933295" cy="1278702"/>
          </a:xfrm>
          <a:prstGeom prst="flowChartPreparation">
            <a:avLst/>
          </a:prstGeom>
        </p:spPr>
      </p:pic>
      <p:pic>
        <p:nvPicPr>
          <p:cNvPr id="29" name="Picture 28" descr="A picture containing light, traffic, outdoor, green&#10;&#10;Description automatically generated">
            <a:extLst>
              <a:ext uri="{FF2B5EF4-FFF2-40B4-BE49-F238E27FC236}">
                <a16:creationId xmlns:a16="http://schemas.microsoft.com/office/drawing/2014/main" id="{2F84BC54-BCF2-C161-7ED0-30BD252BD2D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739007" y="5023681"/>
            <a:ext cx="1511309" cy="1133483"/>
          </a:xfrm>
          <a:prstGeom prst="flowChartPreparation">
            <a:avLst/>
          </a:prstGeom>
        </p:spPr>
      </p:pic>
      <p:pic>
        <p:nvPicPr>
          <p:cNvPr id="30" name="Picture 29" descr="A picture containing text, person&#10;&#10;Description automatically generated">
            <a:extLst>
              <a:ext uri="{FF2B5EF4-FFF2-40B4-BE49-F238E27FC236}">
                <a16:creationId xmlns:a16="http://schemas.microsoft.com/office/drawing/2014/main" id="{7F1579AA-C09C-364B-4B11-D3690107A5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469479" y="5312134"/>
            <a:ext cx="1582491" cy="1052882"/>
          </a:xfrm>
          <a:prstGeom prst="flowChartPreparation">
            <a:avLst/>
          </a:prstGeom>
        </p:spPr>
      </p:pic>
      <p:pic>
        <p:nvPicPr>
          <p:cNvPr id="31" name="Picture 30" descr="A picture containing person, person, orange&#10;&#10;Description automatically generated">
            <a:extLst>
              <a:ext uri="{FF2B5EF4-FFF2-40B4-BE49-F238E27FC236}">
                <a16:creationId xmlns:a16="http://schemas.microsoft.com/office/drawing/2014/main" id="{92A23BDF-4C1E-4555-9076-AF090FDF6E22}"/>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2558470" y="3507661"/>
            <a:ext cx="2065728" cy="985324"/>
          </a:xfrm>
          <a:prstGeom prst="hexagon">
            <a:avLst>
              <a:gd name="adj" fmla="val 37447"/>
              <a:gd name="vf" fmla="val 115470"/>
            </a:avLst>
          </a:prstGeom>
        </p:spPr>
      </p:pic>
      <p:pic>
        <p:nvPicPr>
          <p:cNvPr id="36" name="Picture 35" descr="A train travels down the tracks&#10;&#10;Description automatically generated">
            <a:extLst>
              <a:ext uri="{FF2B5EF4-FFF2-40B4-BE49-F238E27FC236}">
                <a16:creationId xmlns:a16="http://schemas.microsoft.com/office/drawing/2014/main" id="{8B2EE28F-A8C0-6389-5587-D2363620D61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6830758" y="3078320"/>
            <a:ext cx="2277746" cy="1094826"/>
          </a:xfrm>
          <a:prstGeom prst="hexagon">
            <a:avLst>
              <a:gd name="adj" fmla="val 29925"/>
              <a:gd name="vf" fmla="val 115470"/>
            </a:avLst>
          </a:prstGeom>
        </p:spPr>
      </p:pic>
      <p:sp>
        <p:nvSpPr>
          <p:cNvPr id="14" name="TextBox 13">
            <a:extLst>
              <a:ext uri="{FF2B5EF4-FFF2-40B4-BE49-F238E27FC236}">
                <a16:creationId xmlns:a16="http://schemas.microsoft.com/office/drawing/2014/main" id="{3F4E74FA-2D0D-8466-FFE3-E3E53B37395F}"/>
              </a:ext>
            </a:extLst>
          </p:cNvPr>
          <p:cNvSpPr txBox="1"/>
          <p:nvPr/>
        </p:nvSpPr>
        <p:spPr>
          <a:xfrm>
            <a:off x="2254604" y="6479376"/>
            <a:ext cx="926539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C00000"/>
                </a:solidFill>
                <a:effectLst/>
                <a:uLnTx/>
                <a:uFillTx/>
                <a:latin typeface="Open Sans" pitchFamily="2" charset="0"/>
                <a:ea typeface="Open Sans" pitchFamily="2" charset="0"/>
                <a:cs typeface="Open Sans" pitchFamily="2" charset="0"/>
              </a:rPr>
              <a:t>red colour = components of the DAC basic package</a:t>
            </a:r>
            <a:r>
              <a:rPr lang="en-GB" sz="1200" b="1">
                <a:solidFill>
                  <a:srgbClr val="C00000"/>
                </a:solidFill>
                <a:latin typeface="Open Sans" pitchFamily="2" charset="0"/>
                <a:ea typeface="Open Sans" pitchFamily="2" charset="0"/>
                <a:cs typeface="Open Sans" pitchFamily="2" charset="0"/>
              </a:rPr>
              <a:t> (</a:t>
            </a:r>
            <a:r>
              <a:rPr kumimoji="0" lang="en-GB" sz="1200" b="1" i="0" u="none" strike="noStrike" kern="1200" cap="none" spc="0" normalizeH="0" baseline="0" noProof="0">
                <a:ln>
                  <a:noFill/>
                </a:ln>
                <a:solidFill>
                  <a:srgbClr val="C00000"/>
                </a:solidFill>
                <a:effectLst/>
                <a:uLnTx/>
                <a:uFillTx/>
                <a:latin typeface="Open Sans" pitchFamily="2" charset="0"/>
                <a:ea typeface="Open Sans" pitchFamily="2" charset="0"/>
                <a:cs typeface="Open Sans" pitchFamily="2" charset="0"/>
              </a:rPr>
              <a:t>only those use cases are linked to the pre-deployment trains)</a:t>
            </a:r>
            <a:endParaRPr kumimoji="0" lang="en-GB" sz="1200" b="1" i="0" u="none" strike="noStrike" kern="1200" cap="none" spc="0" normalizeH="0" baseline="0" noProof="0">
              <a:ln>
                <a:noFill/>
              </a:ln>
              <a:solidFill>
                <a:srgbClr val="0C1D3E"/>
              </a:solidFill>
              <a:effectLst/>
              <a:uLnTx/>
              <a:uFillTx/>
              <a:latin typeface="Open Sans" pitchFamily="2" charset="0"/>
              <a:ea typeface="Open Sans" pitchFamily="2" charset="0"/>
              <a:cs typeface="Open Sans" pitchFamily="2" charset="0"/>
            </a:endParaRPr>
          </a:p>
        </p:txBody>
      </p:sp>
    </p:spTree>
    <p:extLst>
      <p:ext uri="{BB962C8B-B14F-4D97-AF65-F5344CB8AC3E}">
        <p14:creationId xmlns:p14="http://schemas.microsoft.com/office/powerpoint/2010/main" val="34750012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206D27-BC01-6C98-D6EB-2F04DBE6237C}"/>
              </a:ext>
            </a:extLst>
          </p:cNvPr>
          <p:cNvSpPr>
            <a:spLocks noGrp="1"/>
          </p:cNvSpPr>
          <p:nvPr>
            <p:ph type="title"/>
          </p:nvPr>
        </p:nvSpPr>
        <p:spPr>
          <a:xfrm>
            <a:off x="1768854" y="206512"/>
            <a:ext cx="10515600" cy="872794"/>
          </a:xfrm>
        </p:spPr>
        <p:txBody>
          <a:bodyPr>
            <a:normAutofit/>
          </a:bodyPr>
          <a:lstStyle/>
          <a:p>
            <a:r>
              <a:rPr lang="en-US" sz="2000" b="1">
                <a:solidFill>
                  <a:srgbClr val="132E63"/>
                </a:solidFill>
                <a:latin typeface="Open Sans" pitchFamily="2" charset="0"/>
                <a:ea typeface="Open Sans" pitchFamily="2" charset="0"/>
                <a:cs typeface="Open Sans" pitchFamily="2" charset="0"/>
              </a:rPr>
              <a:t>Preconditions for investing in DAC deployment </a:t>
            </a:r>
            <a:br>
              <a:rPr lang="en-US" sz="2000" b="1">
                <a:solidFill>
                  <a:srgbClr val="132E63"/>
                </a:solidFill>
                <a:latin typeface="Open Sans" pitchFamily="2" charset="0"/>
                <a:ea typeface="Open Sans" pitchFamily="2" charset="0"/>
                <a:cs typeface="Open Sans" pitchFamily="2" charset="0"/>
              </a:rPr>
            </a:br>
            <a:r>
              <a:rPr lang="en-US" sz="1400">
                <a:solidFill>
                  <a:srgbClr val="132E63"/>
                </a:solidFill>
                <a:latin typeface="Open Sans" pitchFamily="2" charset="0"/>
                <a:ea typeface="Open Sans" pitchFamily="2" charset="0"/>
                <a:cs typeface="Open Sans" pitchFamily="2" charset="0"/>
              </a:rPr>
              <a:t>(= everything that needs to be proven before investment decisions will be taken)</a:t>
            </a:r>
            <a:endParaRPr lang="fr-FR" sz="1400">
              <a:solidFill>
                <a:srgbClr val="132E63"/>
              </a:solidFill>
              <a:latin typeface="Open Sans" pitchFamily="2" charset="0"/>
              <a:ea typeface="Open Sans" pitchFamily="2" charset="0"/>
              <a:cs typeface="Open Sans" pitchFamily="2" charset="0"/>
            </a:endParaRPr>
          </a:p>
        </p:txBody>
      </p:sp>
      <p:sp>
        <p:nvSpPr>
          <p:cNvPr id="3" name="Espace réservé du contenu 2">
            <a:extLst>
              <a:ext uri="{FF2B5EF4-FFF2-40B4-BE49-F238E27FC236}">
                <a16:creationId xmlns:a16="http://schemas.microsoft.com/office/drawing/2014/main" id="{62486CAF-F7C1-D630-692F-790096CE5A74}"/>
              </a:ext>
            </a:extLst>
          </p:cNvPr>
          <p:cNvSpPr>
            <a:spLocks noGrp="1"/>
          </p:cNvSpPr>
          <p:nvPr>
            <p:ph idx="1"/>
          </p:nvPr>
        </p:nvSpPr>
        <p:spPr>
          <a:xfrm>
            <a:off x="5447323" y="1456267"/>
            <a:ext cx="6338276" cy="5085209"/>
          </a:xfrm>
          <a:ln>
            <a:solidFill>
              <a:schemeClr val="accent1">
                <a:lumMod val="50000"/>
              </a:schemeClr>
            </a:solidFill>
          </a:ln>
        </p:spPr>
        <p:txBody>
          <a:bodyPr vert="horz" lIns="91440" tIns="45720" rIns="91440" bIns="45720" rtlCol="0" anchor="t">
            <a:noAutofit/>
          </a:bodyPr>
          <a:lstStyle/>
          <a:p>
            <a:pPr marL="457200" indent="-457200">
              <a:buFont typeface="+mj-lt"/>
              <a:buAutoNum type="arabicPeriod"/>
            </a:pPr>
            <a:r>
              <a:rPr lang="en-US" sz="1200">
                <a:solidFill>
                  <a:srgbClr val="132E63"/>
                </a:solidFill>
                <a:latin typeface="Open Sans" pitchFamily="2" charset="0"/>
                <a:ea typeface="Open Sans" pitchFamily="2" charset="0"/>
                <a:cs typeface="Open Sans" pitchFamily="2" charset="0"/>
              </a:rPr>
              <a:t>DAC-Technology (incl. additional DAC based technology) and DAC-operations/ functionalities are clearly defined (tech. package) and </a:t>
            </a:r>
            <a:r>
              <a:rPr lang="en-GB" sz="1200" b="1">
                <a:solidFill>
                  <a:srgbClr val="132E63"/>
                </a:solidFill>
                <a:latin typeface="Open Sans" pitchFamily="2" charset="0"/>
                <a:ea typeface="Open Sans" pitchFamily="2" charset="0"/>
                <a:cs typeface="Open Sans" pitchFamily="2" charset="0"/>
              </a:rPr>
              <a:t>harmonised (Single European DAC System)</a:t>
            </a:r>
          </a:p>
          <a:p>
            <a:pPr marL="457200" indent="-457200">
              <a:buFont typeface="+mj-lt"/>
              <a:buAutoNum type="arabicPeriod"/>
            </a:pPr>
            <a:r>
              <a:rPr lang="en-GB" sz="1200">
                <a:solidFill>
                  <a:srgbClr val="132E63"/>
                </a:solidFill>
                <a:latin typeface="Open Sans" pitchFamily="2" charset="0"/>
                <a:ea typeface="Open Sans" pitchFamily="2" charset="0"/>
                <a:cs typeface="Open Sans" pitchFamily="2" charset="0"/>
              </a:rPr>
              <a:t>The </a:t>
            </a:r>
            <a:r>
              <a:rPr lang="en-GB" sz="1200" b="1">
                <a:solidFill>
                  <a:srgbClr val="132E63"/>
                </a:solidFill>
                <a:latin typeface="Open Sans" pitchFamily="2" charset="0"/>
                <a:ea typeface="Open Sans" pitchFamily="2" charset="0"/>
                <a:cs typeface="Open Sans" pitchFamily="2" charset="0"/>
              </a:rPr>
              <a:t>technology</a:t>
            </a:r>
            <a:r>
              <a:rPr lang="en-GB" sz="1200">
                <a:solidFill>
                  <a:srgbClr val="132E63"/>
                </a:solidFill>
                <a:latin typeface="Open Sans" pitchFamily="2" charset="0"/>
                <a:ea typeface="Open Sans" pitchFamily="2" charset="0"/>
                <a:cs typeface="Open Sans" pitchFamily="2" charset="0"/>
              </a:rPr>
              <a:t> meets all essential requirements - in particular in t</a:t>
            </a:r>
            <a:r>
              <a:rPr lang="en-US" sz="1200">
                <a:solidFill>
                  <a:srgbClr val="132E63"/>
                </a:solidFill>
                <a:latin typeface="Open Sans" pitchFamily="2" charset="0"/>
                <a:ea typeface="Open Sans" pitchFamily="2" charset="0"/>
                <a:cs typeface="Open Sans" pitchFamily="2" charset="0"/>
              </a:rPr>
              <a:t>he area of RAMS (reliability-availability-maintainability-safety/security) - proven through large demonstrations</a:t>
            </a:r>
          </a:p>
          <a:p>
            <a:pPr marL="457200" indent="-457200">
              <a:buFont typeface="+mj-lt"/>
              <a:buAutoNum type="arabicPeriod"/>
            </a:pPr>
            <a:r>
              <a:rPr lang="en-US" sz="1200">
                <a:solidFill>
                  <a:srgbClr val="132E63"/>
                </a:solidFill>
                <a:latin typeface="Open Sans" pitchFamily="2" charset="0"/>
                <a:ea typeface="Open Sans" pitchFamily="2" charset="0"/>
                <a:cs typeface="Open Sans" pitchFamily="2" charset="0"/>
              </a:rPr>
              <a:t>The </a:t>
            </a:r>
            <a:r>
              <a:rPr lang="en-US" sz="1200" b="1">
                <a:solidFill>
                  <a:srgbClr val="132E63"/>
                </a:solidFill>
                <a:latin typeface="Open Sans" pitchFamily="2" charset="0"/>
                <a:ea typeface="Open Sans" pitchFamily="2" charset="0"/>
                <a:cs typeface="Open Sans" pitchFamily="2" charset="0"/>
              </a:rPr>
              <a:t>operational functionalities/use cases </a:t>
            </a:r>
            <a:r>
              <a:rPr lang="en-US" sz="1200">
                <a:solidFill>
                  <a:srgbClr val="132E63"/>
                </a:solidFill>
                <a:latin typeface="Open Sans" pitchFamily="2" charset="0"/>
                <a:ea typeface="Open Sans" pitchFamily="2" charset="0"/>
                <a:cs typeface="Open Sans" pitchFamily="2" charset="0"/>
              </a:rPr>
              <a:t>bring the expected benefits - proven through large demonstrations </a:t>
            </a:r>
            <a:r>
              <a:rPr lang="en-GB" sz="1200">
                <a:solidFill>
                  <a:srgbClr val="132E63"/>
                </a:solidFill>
                <a:latin typeface="Open Sans" pitchFamily="2" charset="0"/>
                <a:ea typeface="Open Sans" pitchFamily="2" charset="0"/>
                <a:cs typeface="Open Sans" pitchFamily="2" charset="0"/>
              </a:rPr>
              <a:t>incl. safety aspects</a:t>
            </a:r>
            <a:endParaRPr lang="en-US" sz="1200">
              <a:solidFill>
                <a:srgbClr val="132E63"/>
              </a:solidFill>
              <a:latin typeface="Open Sans" pitchFamily="2" charset="0"/>
              <a:ea typeface="Open Sans" pitchFamily="2" charset="0"/>
              <a:cs typeface="Open Sans" pitchFamily="2" charset="0"/>
            </a:endParaRPr>
          </a:p>
          <a:p>
            <a:pPr marL="457200" indent="-457200">
              <a:buFont typeface="+mj-lt"/>
              <a:buAutoNum type="arabicPeriod"/>
            </a:pPr>
            <a:r>
              <a:rPr lang="en-GB" sz="1200">
                <a:solidFill>
                  <a:srgbClr val="132E63"/>
                </a:solidFill>
                <a:latin typeface="Open Sans" pitchFamily="2" charset="0"/>
                <a:ea typeface="Open Sans" pitchFamily="2" charset="0"/>
                <a:cs typeface="Open Sans" pitchFamily="2" charset="0"/>
              </a:rPr>
              <a:t>Positive </a:t>
            </a:r>
            <a:r>
              <a:rPr lang="en-GB" sz="1200" b="1">
                <a:solidFill>
                  <a:srgbClr val="132E63"/>
                </a:solidFill>
                <a:latin typeface="Open Sans" pitchFamily="2" charset="0"/>
                <a:ea typeface="Open Sans" pitchFamily="2" charset="0"/>
                <a:cs typeface="Open Sans" pitchFamily="2" charset="0"/>
              </a:rPr>
              <a:t>CBA incl. </a:t>
            </a:r>
            <a:r>
              <a:rPr lang="en-US" sz="1200" b="1">
                <a:solidFill>
                  <a:srgbClr val="132E63"/>
                </a:solidFill>
                <a:latin typeface="Open Sans" pitchFamily="2" charset="0"/>
                <a:ea typeface="Open Sans" pitchFamily="2" charset="0"/>
                <a:cs typeface="Open Sans" pitchFamily="2" charset="0"/>
              </a:rPr>
              <a:t>adequate funding programs</a:t>
            </a:r>
            <a:r>
              <a:rPr lang="en-US" sz="1200">
                <a:solidFill>
                  <a:srgbClr val="132E63"/>
                </a:solidFill>
                <a:latin typeface="Open Sans" pitchFamily="2" charset="0"/>
                <a:ea typeface="Open Sans" pitchFamily="2" charset="0"/>
                <a:cs typeface="Open Sans" pitchFamily="2" charset="0"/>
              </a:rPr>
              <a:t> (by EU and MS) are made available and guaranteed</a:t>
            </a:r>
          </a:p>
          <a:p>
            <a:pPr lvl="1"/>
            <a:r>
              <a:rPr lang="en-US" sz="1200">
                <a:solidFill>
                  <a:srgbClr val="132E63"/>
                </a:solidFill>
                <a:latin typeface="Open Sans" pitchFamily="2" charset="0"/>
                <a:ea typeface="Open Sans" pitchFamily="2" charset="0"/>
                <a:cs typeface="Open Sans" pitchFamily="2" charset="0"/>
              </a:rPr>
              <a:t>to all European wagon and locomotive operators (RU) and keepers (as they will have to invest)</a:t>
            </a:r>
          </a:p>
          <a:p>
            <a:pPr lvl="1"/>
            <a:r>
              <a:rPr lang="en-US" sz="1200">
                <a:solidFill>
                  <a:srgbClr val="132E63"/>
                </a:solidFill>
                <a:latin typeface="Open Sans" pitchFamily="2" charset="0"/>
                <a:ea typeface="Open Sans" pitchFamily="2" charset="0"/>
                <a:cs typeface="Open Sans" pitchFamily="2" charset="0"/>
              </a:rPr>
              <a:t>in order to generate positive business cases in a maximum 10y perspective</a:t>
            </a:r>
          </a:p>
          <a:p>
            <a:pPr lvl="1"/>
            <a:r>
              <a:rPr lang="en-US" sz="1200">
                <a:solidFill>
                  <a:srgbClr val="132E63"/>
                </a:solidFill>
                <a:latin typeface="Open Sans" pitchFamily="2" charset="0"/>
                <a:ea typeface="Open Sans" pitchFamily="2" charset="0"/>
                <a:cs typeface="Open Sans" pitchFamily="2" charset="0"/>
              </a:rPr>
              <a:t>considering the individual/regional conditions such as the cases where upgrading is not possible/feasible</a:t>
            </a:r>
          </a:p>
          <a:p>
            <a:pPr marL="457200" indent="-457200">
              <a:buFont typeface="+mj-lt"/>
              <a:buAutoNum type="arabicPeriod"/>
            </a:pPr>
            <a:r>
              <a:rPr lang="en-US" sz="1200">
                <a:solidFill>
                  <a:srgbClr val="132E63"/>
                </a:solidFill>
                <a:latin typeface="Open Sans" pitchFamily="2" charset="0"/>
                <a:ea typeface="Open Sans" pitchFamily="2" charset="0"/>
                <a:cs typeface="Open Sans" pitchFamily="2" charset="0"/>
              </a:rPr>
              <a:t>Simple, tailor-made </a:t>
            </a:r>
            <a:r>
              <a:rPr lang="en-US" sz="1200" b="1">
                <a:solidFill>
                  <a:srgbClr val="132E63"/>
                </a:solidFill>
                <a:latin typeface="Open Sans" pitchFamily="2" charset="0"/>
                <a:ea typeface="Open Sans" pitchFamily="2" charset="0"/>
                <a:cs typeface="Open Sans" pitchFamily="2" charset="0"/>
              </a:rPr>
              <a:t>“fast-lane” </a:t>
            </a:r>
            <a:r>
              <a:rPr lang="en-GB" sz="1200" b="1">
                <a:solidFill>
                  <a:srgbClr val="132E63"/>
                </a:solidFill>
                <a:latin typeface="Open Sans" pitchFamily="2" charset="0"/>
                <a:ea typeface="Open Sans" pitchFamily="2" charset="0"/>
                <a:cs typeface="Open Sans" pitchFamily="2" charset="0"/>
              </a:rPr>
              <a:t>authorisation</a:t>
            </a:r>
            <a:r>
              <a:rPr lang="en-US" sz="1200">
                <a:solidFill>
                  <a:srgbClr val="132E63"/>
                </a:solidFill>
                <a:latin typeface="Open Sans" pitchFamily="2" charset="0"/>
                <a:ea typeface="Open Sans" pitchFamily="2" charset="0"/>
                <a:cs typeface="Open Sans" pitchFamily="2" charset="0"/>
              </a:rPr>
              <a:t> procedures are available &amp; authorization risks are mitigated </a:t>
            </a:r>
            <a:r>
              <a:rPr lang="en-GB" sz="1200" b="1">
                <a:solidFill>
                  <a:srgbClr val="132E63"/>
                </a:solidFill>
                <a:latin typeface="Open Sans" pitchFamily="2" charset="0"/>
                <a:ea typeface="Open Sans" pitchFamily="2" charset="0"/>
                <a:cs typeface="Open Sans" pitchFamily="2" charset="0"/>
              </a:rPr>
              <a:t>procedures </a:t>
            </a:r>
            <a:r>
              <a:rPr lang="en-GB" sz="1200">
                <a:solidFill>
                  <a:srgbClr val="132E63"/>
                </a:solidFill>
                <a:latin typeface="Open Sans" pitchFamily="2" charset="0"/>
                <a:ea typeface="Open Sans" pitchFamily="2" charset="0"/>
                <a:cs typeface="Open Sans" pitchFamily="2" charset="0"/>
              </a:rPr>
              <a:t>for wagons and locos (incl. availability of relevant documentation)</a:t>
            </a:r>
            <a:endParaRPr lang="en-US" sz="1200">
              <a:solidFill>
                <a:srgbClr val="132E63"/>
              </a:solidFill>
              <a:latin typeface="Open Sans" pitchFamily="2" charset="0"/>
              <a:ea typeface="Open Sans" pitchFamily="2" charset="0"/>
              <a:cs typeface="Open Sans" pitchFamily="2" charset="0"/>
            </a:endParaRPr>
          </a:p>
          <a:p>
            <a:pPr marL="457200" indent="-457200">
              <a:buFont typeface="+mj-lt"/>
              <a:buAutoNum type="arabicPeriod"/>
            </a:pPr>
            <a:r>
              <a:rPr lang="en-US" sz="1200">
                <a:solidFill>
                  <a:srgbClr val="132E63"/>
                </a:solidFill>
                <a:latin typeface="Open Sans" pitchFamily="2" charset="0"/>
                <a:ea typeface="Open Sans" pitchFamily="2" charset="0"/>
                <a:cs typeface="Open Sans" pitchFamily="2" charset="0"/>
              </a:rPr>
              <a:t>A </a:t>
            </a:r>
            <a:r>
              <a:rPr lang="en-US" sz="1200" b="1">
                <a:solidFill>
                  <a:srgbClr val="132E63"/>
                </a:solidFill>
                <a:latin typeface="Open Sans" pitchFamily="2" charset="0"/>
                <a:ea typeface="Open Sans" pitchFamily="2" charset="0"/>
                <a:cs typeface="Open Sans" pitchFamily="2" charset="0"/>
              </a:rPr>
              <a:t>sound</a:t>
            </a:r>
            <a:r>
              <a:rPr lang="en-US" sz="1200">
                <a:solidFill>
                  <a:srgbClr val="132E63"/>
                </a:solidFill>
                <a:latin typeface="Open Sans" pitchFamily="2" charset="0"/>
                <a:ea typeface="Open Sans" pitchFamily="2" charset="0"/>
                <a:cs typeface="Open Sans" pitchFamily="2" charset="0"/>
              </a:rPr>
              <a:t> </a:t>
            </a:r>
            <a:r>
              <a:rPr lang="en-US" sz="1200" b="1">
                <a:solidFill>
                  <a:srgbClr val="132E63"/>
                </a:solidFill>
                <a:latin typeface="Open Sans" pitchFamily="2" charset="0"/>
                <a:ea typeface="Open Sans" pitchFamily="2" charset="0"/>
                <a:cs typeface="Open Sans" pitchFamily="2" charset="0"/>
              </a:rPr>
              <a:t>migration plan </a:t>
            </a:r>
            <a:r>
              <a:rPr lang="en-US" sz="1200">
                <a:solidFill>
                  <a:srgbClr val="132E63"/>
                </a:solidFill>
                <a:latin typeface="Open Sans" pitchFamily="2" charset="0"/>
                <a:ea typeface="Open Sans" pitchFamily="2" charset="0"/>
                <a:cs typeface="Open Sans" pitchFamily="2" charset="0"/>
              </a:rPr>
              <a:t>is set, guaranteeing simultaneous deployment in Europe (sector agreement and legal framework) based on available and adequate funding programs, established capacities for production and upgrading of wagons and locomotives, </a:t>
            </a:r>
            <a:r>
              <a:rPr lang="en-GB" sz="1200">
                <a:solidFill>
                  <a:srgbClr val="132E63"/>
                </a:solidFill>
                <a:latin typeface="Open Sans" pitchFamily="2" charset="0"/>
                <a:ea typeface="Open Sans" pitchFamily="2" charset="0"/>
                <a:cs typeface="Open Sans" pitchFamily="2" charset="0"/>
              </a:rPr>
              <a:t>staff training, and </a:t>
            </a:r>
            <a:r>
              <a:rPr lang="en-US" sz="1200">
                <a:solidFill>
                  <a:srgbClr val="132E63"/>
                </a:solidFill>
                <a:latin typeface="Open Sans" pitchFamily="2" charset="0"/>
                <a:ea typeface="Open Sans" pitchFamily="2" charset="0"/>
                <a:cs typeface="Open Sans" pitchFamily="2" charset="0"/>
              </a:rPr>
              <a:t>availability of the necessary infrastructure and IT adaptations </a:t>
            </a:r>
          </a:p>
          <a:p>
            <a:pPr marL="457200" indent="-457200">
              <a:buFont typeface="+mj-lt"/>
              <a:buAutoNum type="arabicPeriod"/>
            </a:pPr>
            <a:endParaRPr lang="en-US" sz="1200">
              <a:solidFill>
                <a:srgbClr val="132E63"/>
              </a:solidFill>
              <a:latin typeface="Open Sans" pitchFamily="2" charset="0"/>
              <a:ea typeface="Open Sans" pitchFamily="2" charset="0"/>
              <a:cs typeface="Open Sans" pitchFamily="2" charset="0"/>
            </a:endParaRPr>
          </a:p>
        </p:txBody>
      </p:sp>
      <p:grpSp>
        <p:nvGrpSpPr>
          <p:cNvPr id="8" name="Gruppieren 7"/>
          <p:cNvGrpSpPr/>
          <p:nvPr/>
        </p:nvGrpSpPr>
        <p:grpSpPr>
          <a:xfrm>
            <a:off x="340734" y="1682701"/>
            <a:ext cx="6152342" cy="4101562"/>
            <a:chOff x="-332539" y="1713963"/>
            <a:chExt cx="6152342" cy="4101562"/>
          </a:xfrm>
        </p:grpSpPr>
        <p:graphicFrame>
          <p:nvGraphicFramePr>
            <p:cNvPr id="4" name="Diagramm 3"/>
            <p:cNvGraphicFramePr/>
            <p:nvPr>
              <p:extLst>
                <p:ext uri="{D42A27DB-BD31-4B8C-83A1-F6EECF244321}">
                  <p14:modId xmlns:p14="http://schemas.microsoft.com/office/powerpoint/2010/main" val="2262883399"/>
                </p:ext>
              </p:extLst>
            </p:nvPr>
          </p:nvGraphicFramePr>
          <p:xfrm>
            <a:off x="-332539" y="1713963"/>
            <a:ext cx="6152342" cy="41015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uppieren 4"/>
            <p:cNvGrpSpPr/>
            <p:nvPr/>
          </p:nvGrpSpPr>
          <p:grpSpPr>
            <a:xfrm>
              <a:off x="1691059" y="3004547"/>
              <a:ext cx="1322743" cy="1520394"/>
              <a:chOff x="629456" y="1290584"/>
              <a:chExt cx="1322743" cy="1520394"/>
            </a:xfrm>
            <a:solidFill>
              <a:schemeClr val="accent3">
                <a:lumMod val="60000"/>
                <a:lumOff val="40000"/>
              </a:schemeClr>
            </a:solidFill>
          </p:grpSpPr>
          <p:sp>
            <p:nvSpPr>
              <p:cNvPr id="6" name="Sechseck 5"/>
              <p:cNvSpPr/>
              <p:nvPr/>
            </p:nvSpPr>
            <p:spPr>
              <a:xfrm rot="5400000">
                <a:off x="530631" y="1389409"/>
                <a:ext cx="1520394" cy="1322743"/>
              </a:xfrm>
              <a:prstGeom prst="hexagon">
                <a:avLst>
                  <a:gd name="adj" fmla="val 25000"/>
                  <a:gd name="vf" fmla="val 115470"/>
                </a:avLst>
              </a:prstGeom>
              <a:noFill/>
              <a:ln>
                <a:solidFill>
                  <a:schemeClr val="tx1">
                    <a:lumMod val="50000"/>
                    <a:lumOff val="5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GB">
                  <a:latin typeface="Open Sans" pitchFamily="2" charset="0"/>
                  <a:ea typeface="Open Sans" pitchFamily="2" charset="0"/>
                  <a:cs typeface="Open Sans" pitchFamily="2" charset="0"/>
                </a:endParaRPr>
              </a:p>
            </p:txBody>
          </p:sp>
          <p:sp>
            <p:nvSpPr>
              <p:cNvPr id="7" name="Sechseck 4"/>
              <p:cNvSpPr txBox="1"/>
              <p:nvPr/>
            </p:nvSpPr>
            <p:spPr>
              <a:xfrm>
                <a:off x="835583" y="1527512"/>
                <a:ext cx="910489" cy="104653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100" b="1" kern="1200">
                    <a:solidFill>
                      <a:schemeClr val="tx1">
                        <a:lumMod val="50000"/>
                        <a:lumOff val="50000"/>
                      </a:schemeClr>
                    </a:solidFill>
                    <a:latin typeface="Open Sans" pitchFamily="2" charset="0"/>
                    <a:ea typeface="Open Sans" pitchFamily="2" charset="0"/>
                    <a:cs typeface="Open Sans" pitchFamily="2" charset="0"/>
                  </a:rPr>
                  <a:t>DAC Deploy-</a:t>
                </a:r>
                <a:r>
                  <a:rPr lang="en-GB" sz="1100" b="1" kern="1200" err="1">
                    <a:solidFill>
                      <a:schemeClr val="tx1">
                        <a:lumMod val="50000"/>
                        <a:lumOff val="50000"/>
                      </a:schemeClr>
                    </a:solidFill>
                    <a:latin typeface="Open Sans" pitchFamily="2" charset="0"/>
                    <a:ea typeface="Open Sans" pitchFamily="2" charset="0"/>
                    <a:cs typeface="Open Sans" pitchFamily="2" charset="0"/>
                  </a:rPr>
                  <a:t>ment</a:t>
                </a:r>
                <a:endParaRPr lang="en-GB" sz="1100" b="1" kern="1200">
                  <a:solidFill>
                    <a:schemeClr val="tx1">
                      <a:lumMod val="50000"/>
                      <a:lumOff val="50000"/>
                    </a:schemeClr>
                  </a:solidFill>
                  <a:latin typeface="Open Sans" pitchFamily="2" charset="0"/>
                  <a:ea typeface="Open Sans" pitchFamily="2" charset="0"/>
                  <a:cs typeface="Open Sans" pitchFamily="2" charset="0"/>
                </a:endParaRPr>
              </a:p>
              <a:p>
                <a:pPr lvl="0" algn="ctr" defTabSz="533400">
                  <a:lnSpc>
                    <a:spcPct val="90000"/>
                  </a:lnSpc>
                  <a:spcBef>
                    <a:spcPct val="0"/>
                  </a:spcBef>
                  <a:spcAft>
                    <a:spcPct val="35000"/>
                  </a:spcAft>
                </a:pPr>
                <a:r>
                  <a:rPr lang="en-GB" sz="1000" b="1" err="1">
                    <a:solidFill>
                      <a:schemeClr val="tx1">
                        <a:lumMod val="50000"/>
                        <a:lumOff val="50000"/>
                      </a:schemeClr>
                    </a:solidFill>
                    <a:latin typeface="Open Sans" pitchFamily="2" charset="0"/>
                    <a:ea typeface="Open Sans" pitchFamily="2" charset="0"/>
                    <a:cs typeface="Open Sans" pitchFamily="2" charset="0"/>
                  </a:rPr>
                  <a:t>Precon</a:t>
                </a:r>
                <a:r>
                  <a:rPr lang="en-GB" sz="1000" b="1">
                    <a:solidFill>
                      <a:schemeClr val="tx1">
                        <a:lumMod val="50000"/>
                        <a:lumOff val="50000"/>
                      </a:schemeClr>
                    </a:solidFill>
                    <a:latin typeface="Open Sans" pitchFamily="2" charset="0"/>
                    <a:ea typeface="Open Sans" pitchFamily="2" charset="0"/>
                    <a:cs typeface="Open Sans" pitchFamily="2" charset="0"/>
                  </a:rPr>
                  <a:t>-</a:t>
                </a:r>
                <a:br>
                  <a:rPr lang="en-GB" sz="1000" b="1">
                    <a:solidFill>
                      <a:schemeClr val="tx1">
                        <a:lumMod val="50000"/>
                        <a:lumOff val="50000"/>
                      </a:schemeClr>
                    </a:solidFill>
                    <a:latin typeface="Open Sans" pitchFamily="2" charset="0"/>
                    <a:ea typeface="Open Sans" pitchFamily="2" charset="0"/>
                    <a:cs typeface="Open Sans" pitchFamily="2" charset="0"/>
                  </a:rPr>
                </a:br>
                <a:r>
                  <a:rPr lang="en-GB" sz="1000" b="1" err="1">
                    <a:solidFill>
                      <a:schemeClr val="tx1">
                        <a:lumMod val="50000"/>
                        <a:lumOff val="50000"/>
                      </a:schemeClr>
                    </a:solidFill>
                    <a:latin typeface="Open Sans" pitchFamily="2" charset="0"/>
                    <a:ea typeface="Open Sans" pitchFamily="2" charset="0"/>
                    <a:cs typeface="Open Sans" pitchFamily="2" charset="0"/>
                  </a:rPr>
                  <a:t>ditions</a:t>
                </a:r>
                <a:r>
                  <a:rPr lang="en-GB" sz="1000" b="1">
                    <a:solidFill>
                      <a:schemeClr val="tx1">
                        <a:lumMod val="50000"/>
                        <a:lumOff val="50000"/>
                      </a:schemeClr>
                    </a:solidFill>
                    <a:latin typeface="Open Sans" pitchFamily="2" charset="0"/>
                    <a:ea typeface="Open Sans" pitchFamily="2" charset="0"/>
                    <a:cs typeface="Open Sans" pitchFamily="2" charset="0"/>
                  </a:rPr>
                  <a:t> for investing</a:t>
                </a:r>
                <a:endParaRPr lang="en-GB" sz="1000" b="1" kern="1200">
                  <a:solidFill>
                    <a:schemeClr val="tx1">
                      <a:lumMod val="50000"/>
                      <a:lumOff val="50000"/>
                    </a:schemeClr>
                  </a:solidFill>
                  <a:latin typeface="Open Sans" pitchFamily="2" charset="0"/>
                  <a:ea typeface="Open Sans" pitchFamily="2" charset="0"/>
                  <a:cs typeface="Open Sans" pitchFamily="2" charset="0"/>
                </a:endParaRPr>
              </a:p>
            </p:txBody>
          </p:sp>
        </p:grpSp>
      </p:grpSp>
      <p:sp>
        <p:nvSpPr>
          <p:cNvPr id="9" name="Foliennummernplatzhalter 2">
            <a:extLst>
              <a:ext uri="{FF2B5EF4-FFF2-40B4-BE49-F238E27FC236}">
                <a16:creationId xmlns:a16="http://schemas.microsoft.com/office/drawing/2014/main" id="{FA034453-5603-7967-6675-AB84194B336E}"/>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BB0DC6-0311-9D4C-8333-A8862636E7AD}" type="slidenum">
              <a:rPr kumimoji="0" lang="en-GB" sz="1200" b="0" i="0" u="none" strike="noStrike" kern="1200" cap="none" spc="0" normalizeH="0" baseline="0" noProof="0" smtClean="0">
                <a:ln>
                  <a:noFill/>
                </a:ln>
                <a:solidFill>
                  <a:prstClr val="black">
                    <a:tint val="75000"/>
                  </a:prstClr>
                </a:solidFill>
                <a:effectLst/>
                <a:uLnTx/>
                <a:uFillTx/>
                <a:latin typeface="Open Sans" pitchFamily="2" charset="0"/>
                <a:ea typeface="Open Sans" pitchFamily="2" charset="0"/>
                <a:cs typeface="Open Sans"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tint val="75000"/>
                </a:prstClr>
              </a:solidFill>
              <a:effectLst/>
              <a:uLnTx/>
              <a:uFillTx/>
              <a:latin typeface="Open Sans" pitchFamily="2" charset="0"/>
              <a:ea typeface="Open Sans" pitchFamily="2" charset="0"/>
              <a:cs typeface="Open Sans" pitchFamily="2" charset="0"/>
            </a:endParaRPr>
          </a:p>
        </p:txBody>
      </p:sp>
    </p:spTree>
    <p:extLst>
      <p:ext uri="{BB962C8B-B14F-4D97-AF65-F5344CB8AC3E}">
        <p14:creationId xmlns:p14="http://schemas.microsoft.com/office/powerpoint/2010/main" val="8676650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163AB35F-41EB-8035-2CED-0A6027361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73" name="think-cell data - do not delete" hidden="1">
                        <a:extLst>
                          <a:ext uri="{FF2B5EF4-FFF2-40B4-BE49-F238E27FC236}">
                            <a16:creationId xmlns:a16="http://schemas.microsoft.com/office/drawing/2014/main" id="{163AB35F-41EB-8035-2CED-0A6027361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14">
            <a:extLst>
              <a:ext uri="{FF2B5EF4-FFF2-40B4-BE49-F238E27FC236}">
                <a16:creationId xmlns:a16="http://schemas.microsoft.com/office/drawing/2014/main" id="{3483DD98-AB57-BF6F-03F6-627855A55572}"/>
              </a:ext>
            </a:extLst>
          </p:cNvPr>
          <p:cNvSpPr/>
          <p:nvPr/>
        </p:nvSpPr>
        <p:spPr>
          <a:xfrm>
            <a:off x="3461546" y="6462841"/>
            <a:ext cx="5754580" cy="329544"/>
          </a:xfrm>
          <a:prstGeom prst="rect">
            <a:avLst/>
          </a:prstGeom>
          <a:solidFill>
            <a:srgbClr val="EDEDED"/>
          </a:solidFill>
          <a:ln w="12700" cap="flat" cmpd="sng" algn="ctr">
            <a:noFill/>
            <a:prstDash val="solid"/>
            <a:miter lim="800000"/>
          </a:ln>
          <a:effectLst/>
        </p:spPr>
        <p:txBody>
          <a:bodyPr lIns="0" rIns="0" rtlCol="0" anchor="ctr"/>
          <a:lstStyle/>
          <a:p>
            <a:pPr algn="ctr" fontAlgn="ctr">
              <a:lnSpc>
                <a:spcPct val="107000"/>
              </a:lnSpc>
              <a:spcAft>
                <a:spcPts val="800"/>
              </a:spcAft>
            </a:pPr>
            <a:r>
              <a:rPr lang="en-US" sz="1200" b="1" kern="0">
                <a:solidFill>
                  <a:srgbClr val="0C1D3E"/>
                </a:solidFill>
                <a:latin typeface="Calibri" panose="020F0502020204030204"/>
                <a:cs typeface="Arial" panose="020B0604020202020204" pitchFamily="34" charset="0"/>
              </a:rPr>
              <a:t>Operating “100” DAC pre-deployment trains</a:t>
            </a:r>
          </a:p>
        </p:txBody>
      </p:sp>
      <p:sp>
        <p:nvSpPr>
          <p:cNvPr id="12" name="Rectangle 20">
            <a:extLst>
              <a:ext uri="{FF2B5EF4-FFF2-40B4-BE49-F238E27FC236}">
                <a16:creationId xmlns:a16="http://schemas.microsoft.com/office/drawing/2014/main" id="{686D8ACC-F2DA-8173-4400-60B3AB943BE5}"/>
              </a:ext>
            </a:extLst>
          </p:cNvPr>
          <p:cNvSpPr/>
          <p:nvPr/>
        </p:nvSpPr>
        <p:spPr>
          <a:xfrm>
            <a:off x="4904506" y="4092612"/>
            <a:ext cx="1368000" cy="2252105"/>
          </a:xfrm>
          <a:prstGeom prst="rect">
            <a:avLst/>
          </a:prstGeom>
          <a:solidFill>
            <a:srgbClr val="EDEDED"/>
          </a:solidFill>
          <a:ln w="12700" cap="flat" cmpd="sng" algn="ctr">
            <a:noFill/>
            <a:prstDash val="solid"/>
            <a:miter lim="800000"/>
          </a:ln>
          <a:effectLst/>
        </p:spPr>
        <p:txBody>
          <a:bodyPr lIns="0" rIns="0" rtlCol="0" anchor="ctr"/>
          <a:lstStyle/>
          <a:p>
            <a:pPr marL="0" marR="0" lvl="0" indent="0" algn="ctr" defTabSz="914400" eaLnBrk="1" fontAlgn="ctr" latinLnBrk="0" hangingPunct="1">
              <a:lnSpc>
                <a:spcPct val="107000"/>
              </a:lnSpc>
              <a:spcBef>
                <a:spcPts val="0"/>
              </a:spcBef>
              <a:spcAft>
                <a:spcPts val="800"/>
              </a:spcAft>
              <a:buClrTx/>
              <a:buSzTx/>
              <a:buFontTx/>
              <a:buNone/>
              <a:tabLst/>
              <a:defRPr/>
            </a:pPr>
            <a:endParaRPr kumimoji="0" lang="en-US" sz="1200" b="1" i="0" u="none" strike="noStrike" kern="0" cap="none" spc="0" normalizeH="0" baseline="0" noProof="0">
              <a:ln>
                <a:noFill/>
              </a:ln>
              <a:solidFill>
                <a:prstClr val="white"/>
              </a:solidFill>
              <a:effectLst/>
              <a:uLnTx/>
              <a:uFillTx/>
              <a:latin typeface="Calibri" panose="020F0502020204030204"/>
              <a:ea typeface="Times New Roman" panose="02020603050405020304" pitchFamily="18" charset="0"/>
              <a:cs typeface="Arial" panose="020B0604020202020204" pitchFamily="34" charset="0"/>
            </a:endParaRPr>
          </a:p>
          <a:p>
            <a:pPr algn="ctr" fontAlgn="ctr">
              <a:lnSpc>
                <a:spcPct val="107000"/>
              </a:lnSpc>
              <a:spcAft>
                <a:spcPts val="800"/>
              </a:spcAft>
              <a:defRPr/>
            </a:pPr>
            <a:br>
              <a:rPr kumimoji="0" lang="en-US" sz="1200" b="1" i="0" u="none" strike="noStrike" kern="0" cap="none" spc="0" normalizeH="0" baseline="0" noProof="0">
                <a:ln>
                  <a:noFill/>
                </a:ln>
                <a:solidFill>
                  <a:prstClr val="white"/>
                </a:solidFill>
                <a:effectLst/>
                <a:uLnTx/>
                <a:uFillTx/>
                <a:latin typeface="Calibri" panose="020F0502020204030204"/>
                <a:ea typeface="Times New Roman" panose="02020603050405020304" pitchFamily="18" charset="0"/>
                <a:cs typeface="Arial" panose="020B0604020202020204" pitchFamily="34" charset="0"/>
              </a:rPr>
            </a:br>
            <a:r>
              <a:rPr lang="en-US" sz="1200" b="1" kern="0">
                <a:solidFill>
                  <a:srgbClr val="0C1D3E"/>
                </a:solidFill>
                <a:latin typeface="Calibri" panose="020F0502020204030204"/>
                <a:cs typeface="Arial" panose="020B0604020202020204" pitchFamily="34" charset="0"/>
              </a:rPr>
              <a:t>Retrofitting plan</a:t>
            </a:r>
          </a:p>
          <a:p>
            <a:pPr algn="ctr" fontAlgn="ctr">
              <a:lnSpc>
                <a:spcPct val="107000"/>
              </a:lnSpc>
              <a:spcAft>
                <a:spcPts val="800"/>
              </a:spcAft>
              <a:defRPr/>
            </a:pPr>
            <a:r>
              <a:rPr lang="en-US" sz="1200" b="1" kern="0">
                <a:solidFill>
                  <a:srgbClr val="0C1D3E"/>
                </a:solidFill>
                <a:latin typeface="Calibri" panose="020F0502020204030204"/>
                <a:cs typeface="Arial" panose="020B0604020202020204" pitchFamily="34" charset="0"/>
              </a:rPr>
              <a:t>(traffic &amp; customer sidings analysis, </a:t>
            </a:r>
            <a:br>
              <a:rPr lang="en-US" sz="1200" b="1" kern="0">
                <a:solidFill>
                  <a:srgbClr val="0C1D3E"/>
                </a:solidFill>
                <a:latin typeface="Calibri" panose="020F0502020204030204"/>
                <a:cs typeface="Arial" panose="020B0604020202020204" pitchFamily="34" charset="0"/>
              </a:rPr>
            </a:br>
            <a:r>
              <a:rPr lang="en-US" sz="1200" b="1" kern="0">
                <a:solidFill>
                  <a:srgbClr val="0C1D3E"/>
                </a:solidFill>
                <a:latin typeface="Calibri" panose="020F0502020204030204"/>
                <a:cs typeface="Arial" panose="020B0604020202020204" pitchFamily="34" charset="0"/>
              </a:rPr>
              <a:t>operational plan)</a:t>
            </a:r>
          </a:p>
        </p:txBody>
      </p:sp>
      <p:sp>
        <p:nvSpPr>
          <p:cNvPr id="16" name="Rectangle 24">
            <a:extLst>
              <a:ext uri="{FF2B5EF4-FFF2-40B4-BE49-F238E27FC236}">
                <a16:creationId xmlns:a16="http://schemas.microsoft.com/office/drawing/2014/main" id="{02FF2791-CD5A-F0E7-7058-099EFA09BE7E}"/>
              </a:ext>
            </a:extLst>
          </p:cNvPr>
          <p:cNvSpPr/>
          <p:nvPr/>
        </p:nvSpPr>
        <p:spPr>
          <a:xfrm>
            <a:off x="3490818" y="4092613"/>
            <a:ext cx="1368000" cy="936000"/>
          </a:xfrm>
          <a:prstGeom prst="rect">
            <a:avLst/>
          </a:prstGeom>
          <a:solidFill>
            <a:srgbClr val="EDEDED"/>
          </a:solidFill>
          <a:ln w="12700" cap="flat" cmpd="sng" algn="ctr">
            <a:noFill/>
            <a:prstDash val="solid"/>
            <a:miter lim="800000"/>
          </a:ln>
          <a:effectLst/>
        </p:spPr>
        <p:txBody>
          <a:bodyPr rtlCol="0" anchor="ctr"/>
          <a:lstStyle/>
          <a:p>
            <a:pPr marL="0" marR="0" lvl="0" indent="0" algn="ctr" defTabSz="914400" eaLnBrk="1" fontAlgn="ctr" latinLnBrk="0" hangingPunct="1">
              <a:lnSpc>
                <a:spcPct val="107000"/>
              </a:lnSpc>
              <a:spcBef>
                <a:spcPts val="0"/>
              </a:spcBef>
              <a:spcAft>
                <a:spcPts val="800"/>
              </a:spcAft>
              <a:buClrTx/>
              <a:buSzTx/>
              <a:buFontTx/>
              <a:buNone/>
              <a:tabLst/>
              <a:defRPr/>
            </a:pPr>
            <a:br>
              <a:rPr kumimoji="0" lang="en-US" sz="1100" b="1"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rPr>
            </a:br>
            <a:br>
              <a:rPr kumimoji="0" lang="en-US" sz="1100" b="1"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rPr>
            </a:br>
            <a:r>
              <a:rPr lang="en-US" sz="1200" b="1" kern="0">
                <a:solidFill>
                  <a:srgbClr val="0C1D3E"/>
                </a:solidFill>
                <a:latin typeface="Calibri" panose="020F0502020204030204"/>
                <a:cs typeface="Arial" panose="020B0604020202020204" pitchFamily="34" charset="0"/>
              </a:rPr>
              <a:t>Infrastructural </a:t>
            </a:r>
            <a:br>
              <a:rPr lang="en-US" sz="1200" b="1" kern="0">
                <a:solidFill>
                  <a:srgbClr val="0C1D3E"/>
                </a:solidFill>
                <a:latin typeface="Calibri" panose="020F0502020204030204"/>
                <a:cs typeface="Arial" panose="020B0604020202020204" pitchFamily="34" charset="0"/>
              </a:rPr>
            </a:br>
            <a:r>
              <a:rPr lang="en-US" sz="1200" b="1" kern="0">
                <a:solidFill>
                  <a:srgbClr val="0C1D3E"/>
                </a:solidFill>
                <a:latin typeface="Calibri" panose="020F0502020204030204"/>
                <a:cs typeface="Arial" panose="020B0604020202020204" pitchFamily="34" charset="0"/>
              </a:rPr>
              <a:t>&amp; IT adaptations</a:t>
            </a:r>
          </a:p>
        </p:txBody>
      </p:sp>
      <p:sp>
        <p:nvSpPr>
          <p:cNvPr id="5" name="Titel 4">
            <a:extLst>
              <a:ext uri="{FF2B5EF4-FFF2-40B4-BE49-F238E27FC236}">
                <a16:creationId xmlns:a16="http://schemas.microsoft.com/office/drawing/2014/main" id="{3A6AAD2B-DED9-CF4C-4249-A080EDCC0F81}"/>
              </a:ext>
            </a:extLst>
          </p:cNvPr>
          <p:cNvSpPr>
            <a:spLocks noGrp="1"/>
          </p:cNvSpPr>
          <p:nvPr>
            <p:ph type="title"/>
          </p:nvPr>
        </p:nvSpPr>
        <p:spPr>
          <a:xfrm>
            <a:off x="1908698" y="294101"/>
            <a:ext cx="9445101" cy="655807"/>
          </a:xfrm>
          <a:prstGeom prst="rect">
            <a:avLst/>
          </a:prstGeom>
        </p:spPr>
        <p:txBody>
          <a:bodyPr vert="horz"/>
          <a:lstStyle/>
          <a:p>
            <a:r>
              <a:rPr kumimoji="0" lang="en-US" sz="2400" b="1" i="0" u="none" strike="noStrike" kern="1200" cap="none" spc="0" normalizeH="0" baseline="0" noProof="0">
                <a:ln>
                  <a:noFill/>
                </a:ln>
                <a:solidFill>
                  <a:srgbClr val="132E63"/>
                </a:solidFill>
                <a:effectLst/>
                <a:uLnTx/>
                <a:uFillTx/>
                <a:latin typeface="Open Sans" pitchFamily="2" charset="0"/>
                <a:ea typeface="Open Sans" pitchFamily="2" charset="0"/>
                <a:cs typeface="Open Sans" pitchFamily="2" charset="0"/>
              </a:rPr>
              <a:t>All DAC-related activities</a:t>
            </a:r>
            <a:endParaRPr lang="en-US">
              <a:solidFill>
                <a:srgbClr val="132E63"/>
              </a:solidFill>
              <a:latin typeface="Open Sans" pitchFamily="2" charset="0"/>
              <a:ea typeface="Open Sans" pitchFamily="2" charset="0"/>
              <a:cs typeface="Open Sans" pitchFamily="2" charset="0"/>
            </a:endParaRPr>
          </a:p>
        </p:txBody>
      </p:sp>
      <p:pic>
        <p:nvPicPr>
          <p:cNvPr id="37" name="Picture 56">
            <a:extLst>
              <a:ext uri="{FF2B5EF4-FFF2-40B4-BE49-F238E27FC236}">
                <a16:creationId xmlns:a16="http://schemas.microsoft.com/office/drawing/2014/main" id="{E6621DD8-B109-DA5C-4C29-21479AD34BD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409915" y="1399471"/>
            <a:ext cx="266458" cy="266458"/>
          </a:xfrm>
          <a:prstGeom prst="rect">
            <a:avLst/>
          </a:prstGeom>
        </p:spPr>
      </p:pic>
      <p:sp>
        <p:nvSpPr>
          <p:cNvPr id="20" name="Rectangle 30">
            <a:extLst>
              <a:ext uri="{FF2B5EF4-FFF2-40B4-BE49-F238E27FC236}">
                <a16:creationId xmlns:a16="http://schemas.microsoft.com/office/drawing/2014/main" id="{4959C9E3-6F45-6326-9CD6-0C73A944C698}"/>
              </a:ext>
            </a:extLst>
          </p:cNvPr>
          <p:cNvSpPr/>
          <p:nvPr/>
        </p:nvSpPr>
        <p:spPr>
          <a:xfrm>
            <a:off x="575873" y="2445350"/>
            <a:ext cx="1332000" cy="3889695"/>
          </a:xfrm>
          <a:prstGeom prst="rect">
            <a:avLst/>
          </a:prstGeom>
          <a:solidFill>
            <a:srgbClr val="A5A5A5">
              <a:lumMod val="20000"/>
              <a:lumOff val="80000"/>
            </a:srgbClr>
          </a:solidFill>
          <a:ln w="12700" cap="flat" cmpd="sng" algn="ctr">
            <a:noFill/>
            <a:prstDash val="solid"/>
            <a:miter lim="800000"/>
          </a:ln>
          <a:effectLst/>
        </p:spPr>
        <p:txBody>
          <a:bodyPr lIns="0" rIns="0" rtlCol="0" anchor="ctr"/>
          <a:lstStyle/>
          <a:p>
            <a:pPr algn="ctr">
              <a:lnSpc>
                <a:spcPct val="107000"/>
              </a:lnSpc>
              <a:spcAft>
                <a:spcPts val="800"/>
              </a:spcAft>
            </a:pPr>
            <a:endParaRPr lang="en-US" sz="1200" b="1" kern="0">
              <a:solidFill>
                <a:srgbClr val="1B4A69"/>
              </a:solidFill>
              <a:latin typeface="Calibri" panose="020F0502020204030204"/>
              <a:cs typeface="Arial" panose="020B0604020202020204" pitchFamily="34" charset="0"/>
            </a:endParaRPr>
          </a:p>
          <a:p>
            <a:pPr algn="ctr">
              <a:lnSpc>
                <a:spcPct val="107000"/>
              </a:lnSpc>
              <a:spcAft>
                <a:spcPts val="800"/>
              </a:spcAft>
            </a:pPr>
            <a:br>
              <a:rPr lang="en-US" sz="1200" b="1" kern="0">
                <a:solidFill>
                  <a:srgbClr val="1B4A69"/>
                </a:solidFill>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DAC/”Full Digital Freight Train Operations”</a:t>
            </a:r>
          </a:p>
          <a:p>
            <a:pPr algn="ctr">
              <a:lnSpc>
                <a:spcPct val="107000"/>
              </a:lnSpc>
              <a:spcAft>
                <a:spcPts val="800"/>
              </a:spcAft>
            </a:pPr>
            <a:endParaRPr lang="en-US" sz="1200" b="1" kern="0">
              <a:latin typeface="Calibri" panose="020F0502020204030204"/>
              <a:cs typeface="Arial" panose="020B0604020202020204" pitchFamily="34" charset="0"/>
            </a:endParaRPr>
          </a:p>
          <a:p>
            <a:pPr algn="ctr">
              <a:lnSpc>
                <a:spcPct val="107000"/>
              </a:lnSpc>
              <a:spcAft>
                <a:spcPts val="800"/>
              </a:spcAft>
            </a:pPr>
            <a:r>
              <a:rPr lang="en-US" sz="1200" b="1" kern="0">
                <a:latin typeface="Calibri" panose="020F0502020204030204"/>
                <a:cs typeface="Arial" panose="020B0604020202020204" pitchFamily="34" charset="0"/>
              </a:rPr>
              <a:t>target </a:t>
            </a:r>
            <a:r>
              <a:rPr lang="en-US" sz="1200" b="1" kern="0" err="1">
                <a:latin typeface="Calibri" panose="020F0502020204030204"/>
                <a:cs typeface="Arial" panose="020B0604020202020204" pitchFamily="34" charset="0"/>
              </a:rPr>
              <a:t>operat</a:t>
            </a:r>
            <a:r>
              <a:rPr lang="en-US" sz="1200" b="1" kern="0">
                <a:latin typeface="Calibri" panose="020F0502020204030204"/>
                <a:cs typeface="Arial" panose="020B0604020202020204" pitchFamily="34" charset="0"/>
              </a:rPr>
              <a:t>. proc.</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functional </a:t>
            </a:r>
            <a:r>
              <a:rPr lang="en-US" sz="1200" b="1" kern="0" err="1">
                <a:latin typeface="Calibri" panose="020F0502020204030204"/>
                <a:cs typeface="Arial" panose="020B0604020202020204" pitchFamily="34" charset="0"/>
              </a:rPr>
              <a:t>requ’mts</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system architecture</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tech. development </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testing &amp; demos</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tech. specification </a:t>
            </a:r>
            <a:br>
              <a:rPr lang="en-US" sz="1200" b="1" kern="0">
                <a:latin typeface="Calibri" panose="020F0502020204030204"/>
                <a:cs typeface="Arial" panose="020B0604020202020204" pitchFamily="34" charset="0"/>
              </a:rPr>
            </a:br>
            <a:r>
              <a:rPr lang="en-US" sz="1200" b="1" kern="0" err="1">
                <a:latin typeface="Calibri" panose="020F0502020204030204"/>
                <a:cs typeface="Arial" panose="020B0604020202020204" pitchFamily="34" charset="0"/>
              </a:rPr>
              <a:t>authoris</a:t>
            </a:r>
            <a:r>
              <a:rPr lang="en-US" sz="1200" b="1" kern="0">
                <a:latin typeface="Calibri" panose="020F0502020204030204"/>
                <a:cs typeface="Arial" panose="020B0604020202020204" pitchFamily="34" charset="0"/>
              </a:rPr>
              <a:t>. dossiers</a:t>
            </a:r>
          </a:p>
        </p:txBody>
      </p:sp>
      <p:sp>
        <p:nvSpPr>
          <p:cNvPr id="24" name="Rectangle 42">
            <a:extLst>
              <a:ext uri="{FF2B5EF4-FFF2-40B4-BE49-F238E27FC236}">
                <a16:creationId xmlns:a16="http://schemas.microsoft.com/office/drawing/2014/main" id="{9239F61C-B43F-4D5F-4E16-8114F83856F8}"/>
              </a:ext>
            </a:extLst>
          </p:cNvPr>
          <p:cNvSpPr/>
          <p:nvPr/>
        </p:nvSpPr>
        <p:spPr>
          <a:xfrm>
            <a:off x="1961618" y="2840770"/>
            <a:ext cx="1332000" cy="1713600"/>
          </a:xfrm>
          <a:prstGeom prst="rect">
            <a:avLst/>
          </a:prstGeom>
          <a:solidFill>
            <a:srgbClr val="A5A5A5">
              <a:lumMod val="20000"/>
              <a:lumOff val="80000"/>
            </a:srgbClr>
          </a:solidFill>
          <a:ln w="12700" cap="flat" cmpd="sng" algn="ctr">
            <a:noFill/>
            <a:prstDash val="solid"/>
            <a:miter lim="800000"/>
          </a:ln>
          <a:effectLst/>
        </p:spPr>
        <p:txBody>
          <a:bodyPr lIns="0" rIns="0" rtlCol="0" anchor="ctr"/>
          <a:lstStyle/>
          <a:p>
            <a:pPr algn="ctr">
              <a:lnSpc>
                <a:spcPct val="107000"/>
              </a:lnSpc>
              <a:spcAft>
                <a:spcPts val="800"/>
              </a:spcAft>
            </a:pPr>
            <a:endParaRPr lang="en-US" sz="1200" b="1" kern="0">
              <a:solidFill>
                <a:srgbClr val="1B4A69"/>
              </a:solidFill>
              <a:latin typeface="Calibri" panose="020F0502020204030204"/>
              <a:cs typeface="Arial" panose="020B0604020202020204" pitchFamily="34" charset="0"/>
            </a:endParaRPr>
          </a:p>
          <a:p>
            <a:pPr algn="ctr">
              <a:lnSpc>
                <a:spcPct val="107000"/>
              </a:lnSpc>
              <a:spcAft>
                <a:spcPts val="800"/>
              </a:spcAft>
            </a:pPr>
            <a:endParaRPr lang="en-US" sz="1200" b="1" kern="0">
              <a:solidFill>
                <a:srgbClr val="1B4A69"/>
              </a:solidFill>
              <a:latin typeface="Calibri" panose="020F0502020204030204"/>
              <a:cs typeface="Arial" panose="020B0604020202020204" pitchFamily="34" charset="0"/>
            </a:endParaRPr>
          </a:p>
          <a:p>
            <a:pPr algn="ctr">
              <a:lnSpc>
                <a:spcPct val="107000"/>
              </a:lnSpc>
              <a:spcAft>
                <a:spcPts val="800"/>
              </a:spcAft>
            </a:pPr>
            <a:br>
              <a:rPr lang="en-US" sz="1200" b="1" kern="0">
                <a:solidFill>
                  <a:srgbClr val="1B4A69"/>
                </a:solidFill>
                <a:latin typeface="Calibri" panose="020F0502020204030204"/>
                <a:cs typeface="Arial" panose="020B0604020202020204" pitchFamily="34" charset="0"/>
              </a:rPr>
            </a:br>
            <a:r>
              <a:rPr lang="en-US" sz="1200" b="1" kern="0">
                <a:solidFill>
                  <a:srgbClr val="0C1D3E"/>
                </a:solidFill>
                <a:latin typeface="Calibri" panose="020F0502020204030204"/>
                <a:cs typeface="Arial" panose="020B0604020202020204" pitchFamily="34" charset="0"/>
              </a:rPr>
              <a:t>Technology </a:t>
            </a:r>
            <a:br>
              <a:rPr lang="en-US" sz="1200" b="1" kern="0">
                <a:solidFill>
                  <a:srgbClr val="0C1D3E"/>
                </a:solidFill>
                <a:latin typeface="Calibri" panose="020F0502020204030204"/>
                <a:cs typeface="Arial" panose="020B0604020202020204" pitchFamily="34" charset="0"/>
              </a:rPr>
            </a:br>
            <a:r>
              <a:rPr lang="en-US" sz="1200" b="1" kern="0">
                <a:solidFill>
                  <a:srgbClr val="0C1D3E"/>
                </a:solidFill>
                <a:latin typeface="Calibri" panose="020F0502020204030204"/>
                <a:cs typeface="Arial" panose="020B0604020202020204" pitchFamily="34" charset="0"/>
              </a:rPr>
              <a:t>(mirroring &amp; </a:t>
            </a:r>
            <a:br>
              <a:rPr lang="en-US" sz="1200" b="1" kern="0">
                <a:solidFill>
                  <a:srgbClr val="0C1D3E"/>
                </a:solidFill>
                <a:latin typeface="Calibri" panose="020F0502020204030204"/>
                <a:cs typeface="Arial" panose="020B0604020202020204" pitchFamily="34" charset="0"/>
              </a:rPr>
            </a:br>
            <a:r>
              <a:rPr lang="en-US" sz="1200" b="1" kern="0">
                <a:solidFill>
                  <a:srgbClr val="0C1D3E"/>
                </a:solidFill>
                <a:latin typeface="Calibri" panose="020F0502020204030204"/>
                <a:cs typeface="Arial" panose="020B0604020202020204" pitchFamily="34" charset="0"/>
              </a:rPr>
              <a:t>sector feedback)</a:t>
            </a:r>
          </a:p>
        </p:txBody>
      </p:sp>
      <p:sp>
        <p:nvSpPr>
          <p:cNvPr id="25" name="Rectangle 43">
            <a:extLst>
              <a:ext uri="{FF2B5EF4-FFF2-40B4-BE49-F238E27FC236}">
                <a16:creationId xmlns:a16="http://schemas.microsoft.com/office/drawing/2014/main" id="{49373B3B-DCFB-5E8D-F2B7-07410921746C}"/>
              </a:ext>
            </a:extLst>
          </p:cNvPr>
          <p:cNvSpPr/>
          <p:nvPr/>
        </p:nvSpPr>
        <p:spPr>
          <a:xfrm>
            <a:off x="1961618" y="4595184"/>
            <a:ext cx="1332000" cy="1739862"/>
          </a:xfrm>
          <a:prstGeom prst="rect">
            <a:avLst/>
          </a:prstGeom>
          <a:solidFill>
            <a:srgbClr val="A5A5A5">
              <a:lumMod val="20000"/>
              <a:lumOff val="80000"/>
            </a:srgbClr>
          </a:solidFill>
          <a:ln w="12700" cap="flat" cmpd="sng" algn="ctr">
            <a:noFill/>
            <a:prstDash val="solid"/>
            <a:miter lim="800000"/>
          </a:ln>
          <a:effectLst/>
        </p:spPr>
        <p:txBody>
          <a:bodyPr lIns="0" rIns="0" rtlCol="0" anchor="ctr"/>
          <a:lstStyle/>
          <a:p>
            <a:pPr marL="0" marR="0" lvl="0" indent="0" algn="ctr" defTabSz="914400" eaLnBrk="1" fontAlgn="auto" latinLnBrk="0" hangingPunct="1">
              <a:lnSpc>
                <a:spcPct val="107000"/>
              </a:lnSpc>
              <a:spcBef>
                <a:spcPts val="0"/>
              </a:spcBef>
              <a:spcAft>
                <a:spcPts val="800"/>
              </a:spcAft>
              <a:buClrTx/>
              <a:buSzTx/>
              <a:buFontTx/>
              <a:buNone/>
              <a:tabLst/>
              <a:defRPr/>
            </a:pPr>
            <a:endParaRPr kumimoji="0" lang="en-US" sz="1200" b="1" i="0" u="none" strike="noStrike" kern="0" cap="none" spc="0" normalizeH="0" baseline="0" noProof="0">
              <a:ln>
                <a:noFill/>
              </a:ln>
              <a:solidFill>
                <a:srgbClr val="1B4A69"/>
              </a:solidFill>
              <a:effectLst/>
              <a:uLnTx/>
              <a:uFillTx/>
              <a:latin typeface="Calibri" panose="020F0502020204030204"/>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7000"/>
              </a:lnSpc>
              <a:spcBef>
                <a:spcPts val="0"/>
              </a:spcBef>
              <a:spcAft>
                <a:spcPts val="800"/>
              </a:spcAft>
              <a:buClrTx/>
              <a:buSzTx/>
              <a:buFontTx/>
              <a:buNone/>
              <a:tabLst/>
              <a:defRPr/>
            </a:pPr>
            <a:endParaRPr kumimoji="0" lang="en-US" sz="1200" b="1" i="0" u="none" strike="noStrike" kern="0" cap="none" spc="0" normalizeH="0" baseline="0" noProof="0">
              <a:ln>
                <a:noFill/>
              </a:ln>
              <a:solidFill>
                <a:srgbClr val="1B4A69"/>
              </a:solidFill>
              <a:effectLst/>
              <a:uLnTx/>
              <a:uFillTx/>
              <a:latin typeface="Calibri" panose="020F0502020204030204"/>
              <a:ea typeface="Times New Roman" panose="02020603050405020304" pitchFamily="18" charset="0"/>
              <a:cs typeface="Arial" panose="020B0604020202020204" pitchFamily="34" charset="0"/>
            </a:endParaRPr>
          </a:p>
          <a:p>
            <a:pPr marL="0" marR="0" lvl="0" indent="0" algn="ctr" defTabSz="914400" eaLnBrk="1" fontAlgn="auto" latinLnBrk="0" hangingPunct="1">
              <a:lnSpc>
                <a:spcPct val="107000"/>
              </a:lnSpc>
              <a:spcBef>
                <a:spcPts val="0"/>
              </a:spcBef>
              <a:spcAft>
                <a:spcPts val="800"/>
              </a:spcAft>
              <a:buClrTx/>
              <a:buSzTx/>
              <a:buFontTx/>
              <a:buNone/>
              <a:tabLst/>
              <a:defRPr/>
            </a:pPr>
            <a:br>
              <a:rPr kumimoji="0" lang="en-US" sz="1200" b="1" i="0" u="none" strike="noStrike" kern="0" cap="none" spc="0" normalizeH="0" baseline="0" noProof="0">
                <a:ln>
                  <a:noFill/>
                </a:ln>
                <a:solidFill>
                  <a:srgbClr val="0C1D3E"/>
                </a:solidFill>
                <a:effectLst/>
                <a:uLnTx/>
                <a:uFillTx/>
                <a:latin typeface="Calibri" panose="020F0502020204030204"/>
                <a:ea typeface="Calibri" panose="020F0502020204030204" pitchFamily="34" charset="0"/>
                <a:cs typeface="Arial" panose="020B0604020202020204" pitchFamily="34" charset="0"/>
              </a:rPr>
            </a:br>
            <a:r>
              <a:rPr kumimoji="0" lang="en-US" sz="1200" b="1" i="0" u="none" strike="noStrike" kern="0" cap="none" spc="0" normalizeH="0" baseline="0" noProof="0">
                <a:ln>
                  <a:noFill/>
                </a:ln>
                <a:solidFill>
                  <a:srgbClr val="0C1D3E"/>
                </a:solidFill>
                <a:effectLst/>
                <a:uLnTx/>
                <a:uFillTx/>
                <a:latin typeface="Calibri" panose="020F0502020204030204"/>
                <a:ea typeface="Calibri" panose="020F0502020204030204" pitchFamily="34" charset="0"/>
                <a:cs typeface="Arial" panose="020B0604020202020204" pitchFamily="34" charset="0"/>
              </a:rPr>
              <a:t>Operational</a:t>
            </a:r>
            <a:br>
              <a:rPr kumimoji="0" lang="en-US" sz="1200" b="1" i="0" u="none" strike="noStrike" kern="0" cap="none" spc="0" normalizeH="0" baseline="0" noProof="0">
                <a:ln>
                  <a:noFill/>
                </a:ln>
                <a:solidFill>
                  <a:srgbClr val="0C1D3E"/>
                </a:solidFill>
                <a:effectLst/>
                <a:uLnTx/>
                <a:uFillTx/>
                <a:latin typeface="Calibri" panose="020F0502020204030204"/>
                <a:ea typeface="Calibri" panose="020F0502020204030204" pitchFamily="34" charset="0"/>
                <a:cs typeface="Arial" panose="020B0604020202020204" pitchFamily="34" charset="0"/>
              </a:rPr>
            </a:br>
            <a:r>
              <a:rPr kumimoji="0" lang="en-US" sz="1200" b="1" i="0" u="none" strike="noStrike" kern="0" cap="none" spc="0" normalizeH="0" baseline="0" noProof="0">
                <a:ln>
                  <a:noFill/>
                </a:ln>
                <a:solidFill>
                  <a:srgbClr val="0C1D3E"/>
                </a:solidFill>
                <a:effectLst/>
                <a:uLnTx/>
                <a:uFillTx/>
                <a:latin typeface="Calibri" panose="020F0502020204030204"/>
                <a:ea typeface="Calibri" panose="020F0502020204030204" pitchFamily="34" charset="0"/>
                <a:cs typeface="Arial" panose="020B0604020202020204" pitchFamily="34" charset="0"/>
              </a:rPr>
              <a:t>Procedures</a:t>
            </a:r>
            <a:br>
              <a:rPr kumimoji="0" lang="en-US" sz="1200" b="1" i="0" u="none" strike="noStrike" kern="0" cap="none" spc="0" normalizeH="0" baseline="0" noProof="0">
                <a:ln>
                  <a:noFill/>
                </a:ln>
                <a:solidFill>
                  <a:srgbClr val="0C1D3E"/>
                </a:solidFill>
                <a:effectLst/>
                <a:uLnTx/>
                <a:uFillTx/>
                <a:latin typeface="Calibri" panose="020F0502020204030204"/>
                <a:ea typeface="Calibri" panose="020F0502020204030204" pitchFamily="34" charset="0"/>
                <a:cs typeface="Arial" panose="020B0604020202020204" pitchFamily="34" charset="0"/>
              </a:rPr>
            </a:br>
            <a:r>
              <a:rPr kumimoji="0" lang="en-US" sz="1200" b="1" i="0" u="none" strike="noStrike" kern="0" cap="none" spc="0" normalizeH="0" baseline="0" noProof="0">
                <a:ln>
                  <a:noFill/>
                </a:ln>
                <a:solidFill>
                  <a:srgbClr val="0C1D3E"/>
                </a:solidFill>
                <a:effectLst/>
                <a:uLnTx/>
                <a:uFillTx/>
                <a:latin typeface="Calibri" panose="020F0502020204030204"/>
                <a:ea typeface="Calibri" panose="020F0502020204030204" pitchFamily="34" charset="0"/>
                <a:cs typeface="Arial" panose="020B0604020202020204" pitchFamily="34" charset="0"/>
              </a:rPr>
              <a:t>(mirroring &amp;</a:t>
            </a:r>
            <a:br>
              <a:rPr kumimoji="0" lang="en-US" sz="1200" b="1" i="0" u="none" strike="noStrike" kern="0" cap="none" spc="0" normalizeH="0" baseline="0" noProof="0">
                <a:ln>
                  <a:noFill/>
                </a:ln>
                <a:solidFill>
                  <a:srgbClr val="0C1D3E"/>
                </a:solidFill>
                <a:effectLst/>
                <a:uLnTx/>
                <a:uFillTx/>
                <a:latin typeface="Calibri" panose="020F0502020204030204"/>
                <a:ea typeface="Calibri" panose="020F0502020204030204" pitchFamily="34" charset="0"/>
                <a:cs typeface="Arial" panose="020B0604020202020204" pitchFamily="34" charset="0"/>
              </a:rPr>
            </a:br>
            <a:r>
              <a:rPr kumimoji="0" lang="en-US" sz="1200" b="1" i="0" u="none" strike="noStrike" kern="0" cap="none" spc="0" normalizeH="0" baseline="0" noProof="0">
                <a:ln>
                  <a:noFill/>
                </a:ln>
                <a:solidFill>
                  <a:srgbClr val="0C1D3E"/>
                </a:solidFill>
                <a:effectLst/>
                <a:uLnTx/>
                <a:uFillTx/>
                <a:latin typeface="Calibri" panose="020F0502020204030204"/>
                <a:ea typeface="Calibri" panose="020F0502020204030204" pitchFamily="34" charset="0"/>
                <a:cs typeface="Arial" panose="020B0604020202020204" pitchFamily="34" charset="0"/>
              </a:rPr>
              <a:t>sector feedback)</a:t>
            </a:r>
            <a:endParaRPr kumimoji="0" lang="en-US" sz="1200" b="0" i="0" u="none" strike="noStrike" kern="0" cap="none" spc="0" normalizeH="0" baseline="0" noProof="0">
              <a:ln>
                <a:noFill/>
              </a:ln>
              <a:solidFill>
                <a:srgbClr val="0C1D3E"/>
              </a:solidFill>
              <a:effectLst/>
              <a:uLnTx/>
              <a:uFillTx/>
              <a:latin typeface="Calibri" panose="020F0502020204030204"/>
              <a:ea typeface="Calibri" panose="020F0502020204030204" pitchFamily="34" charset="0"/>
              <a:cs typeface="Arial" panose="020B0604020202020204" pitchFamily="34" charset="0"/>
            </a:endParaRPr>
          </a:p>
        </p:txBody>
      </p:sp>
      <p:pic>
        <p:nvPicPr>
          <p:cNvPr id="26" name="Picture 44">
            <a:extLst>
              <a:ext uri="{FF2B5EF4-FFF2-40B4-BE49-F238E27FC236}">
                <a16:creationId xmlns:a16="http://schemas.microsoft.com/office/drawing/2014/main" id="{8C923A33-8FCF-0775-84FC-62650722C0C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44957" y="4892147"/>
            <a:ext cx="770083" cy="424030"/>
          </a:xfrm>
          <a:prstGeom prst="rect">
            <a:avLst/>
          </a:prstGeom>
        </p:spPr>
      </p:pic>
      <p:pic>
        <p:nvPicPr>
          <p:cNvPr id="27" name="Picture 45">
            <a:extLst>
              <a:ext uri="{FF2B5EF4-FFF2-40B4-BE49-F238E27FC236}">
                <a16:creationId xmlns:a16="http://schemas.microsoft.com/office/drawing/2014/main" id="{4EE48305-1147-8172-16C6-4D505BDF89F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307149" y="3089939"/>
            <a:ext cx="594469" cy="461967"/>
          </a:xfrm>
          <a:prstGeom prst="rect">
            <a:avLst/>
          </a:prstGeom>
        </p:spPr>
      </p:pic>
      <p:sp>
        <p:nvSpPr>
          <p:cNvPr id="28" name="TextBox 180">
            <a:extLst>
              <a:ext uri="{FF2B5EF4-FFF2-40B4-BE49-F238E27FC236}">
                <a16:creationId xmlns:a16="http://schemas.microsoft.com/office/drawing/2014/main" id="{12BF332F-24DB-011E-CA88-914132B60FDC}"/>
              </a:ext>
            </a:extLst>
          </p:cNvPr>
          <p:cNvSpPr txBox="1"/>
          <p:nvPr/>
        </p:nvSpPr>
        <p:spPr>
          <a:xfrm>
            <a:off x="1968091" y="2455024"/>
            <a:ext cx="1304035" cy="385379"/>
          </a:xfrm>
          <a:prstGeom prst="rect">
            <a:avLst/>
          </a:prstGeom>
          <a:noFill/>
          <a:ln w="12700" cap="flat" cmpd="sng" algn="ctr">
            <a:noFill/>
            <a:prstDash val="solid"/>
            <a:miter lim="800000"/>
          </a:ln>
          <a:effectLst/>
        </p:spPr>
        <p:txBody>
          <a:bodyPr lIns="36000" rIns="36000" rtlCol="0" anchor="ctr"/>
          <a:lstStyle>
            <a:defPPr>
              <a:defRPr lang="fr-FR"/>
            </a:defPPr>
            <a:lvl1pPr algn="ctr">
              <a:lnSpc>
                <a:spcPct val="107000"/>
              </a:lnSpc>
              <a:spcAft>
                <a:spcPts val="800"/>
              </a:spcAft>
              <a:defRPr sz="1200" b="1">
                <a:solidFill>
                  <a:srgbClr val="1B4A69"/>
                </a:solidFill>
                <a:effectLst/>
                <a:latin typeface="Calibri" panose="020F0502020204030204" pitchFamily="34" charset="0"/>
                <a:ea typeface="Times New Roman" panose="02020603050405020304" pitchFamily="18"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200" b="1" i="0" u="none" strike="noStrike" kern="0" cap="none" spc="0" normalizeH="0" baseline="0" noProof="0">
                <a:ln>
                  <a:noFill/>
                </a:ln>
                <a:solidFill>
                  <a:schemeClr val="tx1"/>
                </a:solidFill>
                <a:effectLst/>
                <a:uLnTx/>
                <a:uFillTx/>
                <a:latin typeface="Calibri" panose="020F0502020204030204"/>
                <a:cs typeface="Arial" panose="020B0604020202020204" pitchFamily="34" charset="0"/>
              </a:rPr>
              <a:t>FP 5 FDFTO</a:t>
            </a:r>
            <a:br>
              <a:rPr kumimoji="0" lang="en-US" sz="1200" b="1" i="0" u="none" strike="noStrike" kern="0" cap="none" spc="0" normalizeH="0" baseline="0" noProof="0">
                <a:ln>
                  <a:noFill/>
                </a:ln>
                <a:solidFill>
                  <a:schemeClr val="tx1"/>
                </a:solidFill>
                <a:effectLst/>
                <a:uLnTx/>
                <a:uFillTx/>
                <a:latin typeface="Calibri" panose="020F0502020204030204"/>
                <a:cs typeface="Arial" panose="020B0604020202020204" pitchFamily="34" charset="0"/>
              </a:rPr>
            </a:br>
            <a:r>
              <a:rPr kumimoji="0" lang="en-US" sz="1200" b="1" i="0" u="none" strike="noStrike" kern="0" cap="none" spc="0" normalizeH="0" baseline="0" noProof="0">
                <a:ln>
                  <a:noFill/>
                </a:ln>
                <a:solidFill>
                  <a:schemeClr val="tx1"/>
                </a:solidFill>
                <a:effectLst/>
                <a:uLnTx/>
                <a:uFillTx/>
                <a:latin typeface="Calibri" panose="020F0502020204030204"/>
                <a:cs typeface="Arial" panose="020B0604020202020204" pitchFamily="34" charset="0"/>
              </a:rPr>
              <a:t>sounding boards</a:t>
            </a:r>
          </a:p>
        </p:txBody>
      </p:sp>
      <p:pic>
        <p:nvPicPr>
          <p:cNvPr id="29" name="Picture 39">
            <a:extLst>
              <a:ext uri="{FF2B5EF4-FFF2-40B4-BE49-F238E27FC236}">
                <a16:creationId xmlns:a16="http://schemas.microsoft.com/office/drawing/2014/main" id="{DFD46171-4A6E-AEEC-D824-BD56F0C2C65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91682" y="2865788"/>
            <a:ext cx="594469" cy="461967"/>
          </a:xfrm>
          <a:prstGeom prst="rect">
            <a:avLst/>
          </a:prstGeom>
        </p:spPr>
      </p:pic>
      <p:sp>
        <p:nvSpPr>
          <p:cNvPr id="8" name="Rectangle 10">
            <a:extLst>
              <a:ext uri="{FF2B5EF4-FFF2-40B4-BE49-F238E27FC236}">
                <a16:creationId xmlns:a16="http://schemas.microsoft.com/office/drawing/2014/main" id="{7397C1B1-C455-3977-80CF-EDDA7ABCE36C}"/>
              </a:ext>
            </a:extLst>
          </p:cNvPr>
          <p:cNvSpPr/>
          <p:nvPr/>
        </p:nvSpPr>
        <p:spPr>
          <a:xfrm>
            <a:off x="4904506" y="2474422"/>
            <a:ext cx="1368000" cy="1574546"/>
          </a:xfrm>
          <a:prstGeom prst="rect">
            <a:avLst/>
          </a:prstGeom>
          <a:solidFill>
            <a:srgbClr val="EDEDED"/>
          </a:solidFill>
          <a:ln w="12700" cap="flat" cmpd="sng" algn="ctr">
            <a:noFill/>
            <a:prstDash val="solid"/>
            <a:miter lim="800000"/>
          </a:ln>
          <a:effectLst/>
        </p:spPr>
        <p:txBody>
          <a:bodyPr lIns="0" rIns="0" rtlCol="0" anchor="ctr"/>
          <a:lstStyle/>
          <a:p>
            <a:pPr marL="0" marR="0" lvl="0" indent="0" algn="ctr" defTabSz="914400" eaLnBrk="1" fontAlgn="ctr" latinLnBrk="0" hangingPunct="1">
              <a:lnSpc>
                <a:spcPct val="107000"/>
              </a:lnSpc>
              <a:spcBef>
                <a:spcPts val="0"/>
              </a:spcBef>
              <a:spcAft>
                <a:spcPts val="800"/>
              </a:spcAft>
              <a:buClrTx/>
              <a:buSzTx/>
              <a:buFontTx/>
              <a:buNone/>
              <a:tabLst/>
              <a:defRPr/>
            </a:pPr>
            <a:br>
              <a:rPr kumimoji="0" lang="en-US" sz="1200" b="1" i="0" u="none" strike="noStrike" kern="0" cap="none" spc="0" normalizeH="0" baseline="0" noProof="0">
                <a:ln>
                  <a:noFill/>
                </a:ln>
                <a:solidFill>
                  <a:prstClr val="white"/>
                </a:solidFill>
                <a:effectLst/>
                <a:uLnTx/>
                <a:uFillTx/>
                <a:latin typeface="Calibri" panose="020F0502020204030204"/>
                <a:ea typeface="Times New Roman" panose="02020603050405020304" pitchFamily="18" charset="0"/>
                <a:cs typeface="Arial" panose="020B0604020202020204" pitchFamily="34" charset="0"/>
              </a:rPr>
            </a:br>
            <a:endParaRPr kumimoji="0" lang="en-US" sz="1200" b="1" i="0" u="none" strike="noStrike" kern="0" cap="none" spc="0" normalizeH="0" baseline="0" noProof="0">
              <a:ln>
                <a:noFill/>
              </a:ln>
              <a:solidFill>
                <a:prstClr val="white"/>
              </a:solidFill>
              <a:effectLst/>
              <a:uLnTx/>
              <a:uFillTx/>
              <a:latin typeface="Calibri" panose="020F0502020204030204"/>
              <a:ea typeface="Times New Roman" panose="02020603050405020304" pitchFamily="18" charset="0"/>
              <a:cs typeface="Arial" panose="020B0604020202020204" pitchFamily="34" charset="0"/>
            </a:endParaRPr>
          </a:p>
          <a:p>
            <a:pPr algn="ctr" fontAlgn="ctr">
              <a:lnSpc>
                <a:spcPct val="107000"/>
              </a:lnSpc>
              <a:spcAft>
                <a:spcPts val="800"/>
              </a:spcAft>
              <a:defRPr/>
            </a:pPr>
            <a:r>
              <a:rPr lang="en-US" sz="1200" b="1" kern="0">
                <a:solidFill>
                  <a:srgbClr val="0C1D3E"/>
                </a:solidFill>
                <a:latin typeface="Calibri" panose="020F0502020204030204"/>
                <a:cs typeface="Arial" panose="020B0604020202020204" pitchFamily="34" charset="0"/>
              </a:rPr>
              <a:t>Retrofit </a:t>
            </a:r>
            <a:br>
              <a:rPr lang="en-US" sz="1200" b="1" kern="0">
                <a:solidFill>
                  <a:srgbClr val="0C1D3E"/>
                </a:solidFill>
                <a:latin typeface="Calibri" panose="020F0502020204030204"/>
                <a:cs typeface="Arial" panose="020B0604020202020204" pitchFamily="34" charset="0"/>
              </a:rPr>
            </a:br>
            <a:r>
              <a:rPr lang="en-US" sz="1200" b="1" kern="0">
                <a:solidFill>
                  <a:srgbClr val="0C1D3E"/>
                </a:solidFill>
                <a:latin typeface="Calibri" panose="020F0502020204030204"/>
                <a:cs typeface="Arial" panose="020B0604020202020204" pitchFamily="34" charset="0"/>
              </a:rPr>
              <a:t>capacity plan</a:t>
            </a:r>
            <a:br>
              <a:rPr lang="en-US" sz="1200" b="1" kern="0">
                <a:solidFill>
                  <a:srgbClr val="0C1D3E"/>
                </a:solidFill>
                <a:latin typeface="Calibri" panose="020F0502020204030204"/>
                <a:cs typeface="Arial" panose="020B0604020202020204" pitchFamily="34" charset="0"/>
              </a:rPr>
            </a:br>
            <a:r>
              <a:rPr lang="en-US" sz="1200" b="1" kern="0">
                <a:solidFill>
                  <a:srgbClr val="0C1D3E"/>
                </a:solidFill>
                <a:latin typeface="Calibri" panose="020F0502020204030204"/>
                <a:cs typeface="Arial" panose="020B0604020202020204" pitchFamily="34" charset="0"/>
              </a:rPr>
              <a:t>(workshops, work-force, components)</a:t>
            </a:r>
          </a:p>
        </p:txBody>
      </p:sp>
      <p:sp>
        <p:nvSpPr>
          <p:cNvPr id="9" name="Rectangle 14">
            <a:extLst>
              <a:ext uri="{FF2B5EF4-FFF2-40B4-BE49-F238E27FC236}">
                <a16:creationId xmlns:a16="http://schemas.microsoft.com/office/drawing/2014/main" id="{CA794CDB-1902-997C-7979-1B30A6B335EF}"/>
              </a:ext>
            </a:extLst>
          </p:cNvPr>
          <p:cNvSpPr/>
          <p:nvPr/>
        </p:nvSpPr>
        <p:spPr>
          <a:xfrm>
            <a:off x="3490818" y="2474417"/>
            <a:ext cx="1368000" cy="1573200"/>
          </a:xfrm>
          <a:prstGeom prst="rect">
            <a:avLst/>
          </a:prstGeom>
          <a:solidFill>
            <a:srgbClr val="EDEDED"/>
          </a:solidFill>
          <a:ln w="12700" cap="flat" cmpd="sng" algn="ctr">
            <a:noFill/>
            <a:prstDash val="solid"/>
            <a:miter lim="800000"/>
          </a:ln>
          <a:effectLst/>
        </p:spPr>
        <p:txBody>
          <a:bodyPr rtlCol="0" anchor="ctr"/>
          <a:lstStyle/>
          <a:p>
            <a:pPr marL="0" marR="0" lvl="0" indent="0" algn="ctr" defTabSz="914400" eaLnBrk="1" fontAlgn="ctr" latinLnBrk="0" hangingPunct="1">
              <a:lnSpc>
                <a:spcPct val="107000"/>
              </a:lnSpc>
              <a:spcBef>
                <a:spcPts val="0"/>
              </a:spcBef>
              <a:spcAft>
                <a:spcPts val="800"/>
              </a:spcAft>
              <a:buClrTx/>
              <a:buSzTx/>
              <a:buFontTx/>
              <a:buNone/>
              <a:tabLst/>
              <a:defRPr/>
            </a:pPr>
            <a:br>
              <a:rPr kumimoji="0" lang="en-US" sz="1400" b="1" i="0" u="none" strike="noStrike" kern="0" cap="none" spc="0" normalizeH="0" baseline="0" noProof="0">
                <a:ln>
                  <a:noFill/>
                </a:ln>
                <a:solidFill>
                  <a:prstClr val="white"/>
                </a:solidFill>
                <a:effectLst/>
                <a:uLnTx/>
                <a:uFillTx/>
                <a:latin typeface="Calibri" panose="020F0502020204030204"/>
                <a:ea typeface="Times New Roman" panose="02020603050405020304" pitchFamily="18" charset="0"/>
                <a:cs typeface="Arial" panose="020B0604020202020204" pitchFamily="34" charset="0"/>
              </a:rPr>
            </a:br>
            <a:br>
              <a:rPr kumimoji="0" lang="en-US" sz="1400" b="1" i="0" u="none" strike="noStrike" kern="0" cap="none" spc="0" normalizeH="0" baseline="0" noProof="0">
                <a:ln>
                  <a:noFill/>
                </a:ln>
                <a:solidFill>
                  <a:prstClr val="white"/>
                </a:solidFill>
                <a:effectLst/>
                <a:uLnTx/>
                <a:uFillTx/>
                <a:latin typeface="Calibri" panose="020F0502020204030204"/>
                <a:ea typeface="Times New Roman" panose="02020603050405020304" pitchFamily="18" charset="0"/>
                <a:cs typeface="Arial" panose="020B0604020202020204" pitchFamily="34" charset="0"/>
              </a:rPr>
            </a:br>
            <a:r>
              <a:rPr lang="en-US" sz="1200" b="1" kern="0">
                <a:solidFill>
                  <a:srgbClr val="0C1D3E"/>
                </a:solidFill>
                <a:latin typeface="Calibri" panose="020F0502020204030204"/>
                <a:cs typeface="Arial" panose="020B0604020202020204" pitchFamily="34" charset="0"/>
              </a:rPr>
              <a:t>Fleet Analyses </a:t>
            </a:r>
            <a:br>
              <a:rPr lang="en-US" sz="1200" b="1" kern="0">
                <a:solidFill>
                  <a:srgbClr val="0C1D3E"/>
                </a:solidFill>
                <a:latin typeface="Calibri" panose="020F0502020204030204"/>
                <a:cs typeface="Arial" panose="020B0604020202020204" pitchFamily="34" charset="0"/>
              </a:rPr>
            </a:br>
            <a:r>
              <a:rPr lang="en-US" sz="1200" b="1" kern="0">
                <a:solidFill>
                  <a:srgbClr val="0C1D3E"/>
                </a:solidFill>
                <a:latin typeface="Calibri" panose="020F0502020204030204"/>
                <a:cs typeface="Arial" panose="020B0604020202020204" pitchFamily="34" charset="0"/>
              </a:rPr>
              <a:t>&amp; rtf Engineering (rtf readiness)</a:t>
            </a:r>
          </a:p>
        </p:txBody>
      </p:sp>
      <p:sp>
        <p:nvSpPr>
          <p:cNvPr id="46" name="Rectangle 60">
            <a:extLst>
              <a:ext uri="{FF2B5EF4-FFF2-40B4-BE49-F238E27FC236}">
                <a16:creationId xmlns:a16="http://schemas.microsoft.com/office/drawing/2014/main" id="{6A5F6EFB-D2E0-0522-E75D-FD218987618B}"/>
              </a:ext>
            </a:extLst>
          </p:cNvPr>
          <p:cNvSpPr/>
          <p:nvPr/>
        </p:nvSpPr>
        <p:spPr>
          <a:xfrm>
            <a:off x="3490818" y="5077291"/>
            <a:ext cx="1368000" cy="1267427"/>
          </a:xfrm>
          <a:prstGeom prst="rect">
            <a:avLst/>
          </a:prstGeom>
          <a:solidFill>
            <a:srgbClr val="EDEDED"/>
          </a:solidFill>
          <a:ln w="12700" cap="flat" cmpd="sng" algn="ctr">
            <a:noFill/>
            <a:prstDash val="solid"/>
            <a:miter lim="800000"/>
          </a:ln>
          <a:effectLst/>
        </p:spPr>
        <p:txBody>
          <a:bodyPr lIns="0" rIns="0" rtlCol="0" anchor="ctr"/>
          <a:lstStyle/>
          <a:p>
            <a:pPr marL="0" marR="0" lvl="0" indent="0" algn="ctr" defTabSz="914400" eaLnBrk="1" fontAlgn="ctr" latinLnBrk="0" hangingPunct="1">
              <a:lnSpc>
                <a:spcPct val="107000"/>
              </a:lnSpc>
              <a:spcBef>
                <a:spcPts val="0"/>
              </a:spcBef>
              <a:spcAft>
                <a:spcPts val="800"/>
              </a:spcAft>
              <a:buClrTx/>
              <a:buSzTx/>
              <a:buFontTx/>
              <a:buNone/>
              <a:tabLst/>
              <a:defRPr/>
            </a:pPr>
            <a:br>
              <a:rPr kumimoji="0" lang="en-US" sz="1100" b="1"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rPr>
            </a:br>
            <a:endParaRPr kumimoji="0" lang="en-US" sz="1100" b="1"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a:p>
            <a:pPr marR="0" lvl="0" indent="0" algn="ctr" fontAlgn="ctr">
              <a:lnSpc>
                <a:spcPct val="107000"/>
              </a:lnSpc>
              <a:spcBef>
                <a:spcPts val="0"/>
              </a:spcBef>
              <a:spcAft>
                <a:spcPts val="800"/>
              </a:spcAft>
              <a:buClrTx/>
              <a:buSzTx/>
              <a:buFontTx/>
              <a:buNone/>
              <a:tabLst/>
              <a:defRPr/>
            </a:pPr>
            <a:r>
              <a:rPr lang="en-US" sz="1200" b="1" kern="0">
                <a:latin typeface="Calibri" panose="020F0502020204030204"/>
                <a:cs typeface="Arial" panose="020B0604020202020204" pitchFamily="34" charset="0"/>
              </a:rPr>
              <a:t>Placing into service plan (safety, workforce training, rulebooks etc.)</a:t>
            </a:r>
          </a:p>
        </p:txBody>
      </p:sp>
      <p:sp>
        <p:nvSpPr>
          <p:cNvPr id="79" name="Rechteck 78">
            <a:extLst>
              <a:ext uri="{FF2B5EF4-FFF2-40B4-BE49-F238E27FC236}">
                <a16:creationId xmlns:a16="http://schemas.microsoft.com/office/drawing/2014/main" id="{1E6FCEB0-553C-050D-1C89-F18E025AA3DF}"/>
              </a:ext>
            </a:extLst>
          </p:cNvPr>
          <p:cNvSpPr/>
          <p:nvPr/>
        </p:nvSpPr>
        <p:spPr>
          <a:xfrm>
            <a:off x="1930164" y="2455025"/>
            <a:ext cx="1405630" cy="3944159"/>
          </a:xfrm>
          <a:prstGeom prst="rect">
            <a:avLst/>
          </a:prstGeom>
          <a:noFill/>
          <a:ln w="19050" cap="flat" cmpd="sng" algn="ctr">
            <a:solidFill>
              <a:srgbClr val="1B4A69"/>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hteck 105">
            <a:extLst>
              <a:ext uri="{FF2B5EF4-FFF2-40B4-BE49-F238E27FC236}">
                <a16:creationId xmlns:a16="http://schemas.microsoft.com/office/drawing/2014/main" id="{E4BB8305-4FA5-15C5-018A-67C25C893AB4}"/>
              </a:ext>
            </a:extLst>
          </p:cNvPr>
          <p:cNvSpPr/>
          <p:nvPr/>
        </p:nvSpPr>
        <p:spPr>
          <a:xfrm>
            <a:off x="552450" y="2205489"/>
            <a:ext cx="2810879" cy="4231548"/>
          </a:xfrm>
          <a:prstGeom prst="rect">
            <a:avLst/>
          </a:prstGeom>
          <a:noFill/>
          <a:ln w="19050">
            <a:solidFill>
              <a:srgbClr val="FF66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Rectangle 21">
            <a:extLst>
              <a:ext uri="{FF2B5EF4-FFF2-40B4-BE49-F238E27FC236}">
                <a16:creationId xmlns:a16="http://schemas.microsoft.com/office/drawing/2014/main" id="{358E77FF-CAA2-54C8-A5D8-01C0EF6E1C3B}"/>
              </a:ext>
            </a:extLst>
          </p:cNvPr>
          <p:cNvSpPr/>
          <p:nvPr/>
        </p:nvSpPr>
        <p:spPr>
          <a:xfrm>
            <a:off x="6349969" y="4092612"/>
            <a:ext cx="1368000" cy="1191973"/>
          </a:xfrm>
          <a:prstGeom prst="rect">
            <a:avLst/>
          </a:prstGeom>
          <a:solidFill>
            <a:srgbClr val="EDEDED"/>
          </a:solidFill>
          <a:ln w="12700" cap="flat" cmpd="sng" algn="ctr">
            <a:noFill/>
            <a:prstDash val="solid"/>
            <a:miter lim="800000"/>
          </a:ln>
          <a:effectLst/>
        </p:spPr>
        <p:txBody>
          <a:bodyPr lIns="0" rIns="0" rtlCol="0" anchor="ctr"/>
          <a:lstStyle/>
          <a:p>
            <a:pPr algn="ctr" fontAlgn="ctr">
              <a:lnSpc>
                <a:spcPct val="107000"/>
              </a:lnSpc>
              <a:spcAft>
                <a:spcPts val="800"/>
              </a:spcAft>
            </a:pPr>
            <a:endParaRPr lang="en-US" sz="1200" b="1" kern="0">
              <a:latin typeface="Calibri" panose="020F0502020204030204"/>
              <a:cs typeface="Arial" panose="020B0604020202020204" pitchFamily="34" charset="0"/>
            </a:endParaRPr>
          </a:p>
          <a:p>
            <a:pPr algn="ctr" fontAlgn="ctr">
              <a:lnSpc>
                <a:spcPct val="107000"/>
              </a:lnSpc>
              <a:spcAft>
                <a:spcPts val="800"/>
              </a:spcAft>
            </a:pP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Investment plan </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amp; procurement framework plan </a:t>
            </a:r>
          </a:p>
        </p:txBody>
      </p:sp>
      <p:sp>
        <p:nvSpPr>
          <p:cNvPr id="189" name="Rectangle 26">
            <a:extLst>
              <a:ext uri="{FF2B5EF4-FFF2-40B4-BE49-F238E27FC236}">
                <a16:creationId xmlns:a16="http://schemas.microsoft.com/office/drawing/2014/main" id="{F765D3F8-62AF-8F35-D1C4-770E6290B79B}"/>
              </a:ext>
            </a:extLst>
          </p:cNvPr>
          <p:cNvSpPr/>
          <p:nvPr/>
        </p:nvSpPr>
        <p:spPr>
          <a:xfrm>
            <a:off x="6349969" y="2474418"/>
            <a:ext cx="1368000" cy="1025830"/>
          </a:xfrm>
          <a:prstGeom prst="rect">
            <a:avLst/>
          </a:prstGeom>
          <a:solidFill>
            <a:srgbClr val="EDEDED"/>
          </a:solidFill>
          <a:ln w="12700" cap="flat" cmpd="sng" algn="ctr">
            <a:noFill/>
            <a:prstDash val="solid"/>
            <a:miter lim="800000"/>
          </a:ln>
          <a:effectLst/>
        </p:spPr>
        <p:txBody>
          <a:bodyPr lIns="0" rIns="0" rtlCol="0" anchor="ctr"/>
          <a:lstStyle/>
          <a:p>
            <a:pPr algn="ctr" fontAlgn="ctr">
              <a:lnSpc>
                <a:spcPct val="107000"/>
              </a:lnSpc>
              <a:spcAft>
                <a:spcPts val="800"/>
              </a:spcAft>
            </a:pPr>
            <a:endParaRPr lang="en-US" sz="1200" b="1" kern="0">
              <a:solidFill>
                <a:prstClr val="white"/>
              </a:solidFill>
              <a:latin typeface="Calibri" panose="020F0502020204030204"/>
              <a:cs typeface="Arial" panose="020B0604020202020204" pitchFamily="34" charset="0"/>
            </a:endParaRPr>
          </a:p>
          <a:p>
            <a:pPr algn="ctr" fontAlgn="ctr">
              <a:lnSpc>
                <a:spcPct val="107000"/>
              </a:lnSpc>
              <a:spcAft>
                <a:spcPts val="800"/>
              </a:spcAft>
            </a:pPr>
            <a:endParaRPr lang="en-US" sz="1200" b="1" kern="0">
              <a:solidFill>
                <a:prstClr val="white"/>
              </a:solidFill>
              <a:latin typeface="Calibri" panose="020F0502020204030204"/>
              <a:cs typeface="Arial" panose="020B0604020202020204" pitchFamily="34" charset="0"/>
            </a:endParaRPr>
          </a:p>
          <a:p>
            <a:pPr algn="ctr" fontAlgn="ctr">
              <a:lnSpc>
                <a:spcPct val="107000"/>
              </a:lnSpc>
              <a:spcAft>
                <a:spcPts val="800"/>
              </a:spcAft>
            </a:pPr>
            <a:r>
              <a:rPr lang="en-US" sz="1200" b="1" kern="0">
                <a:solidFill>
                  <a:srgbClr val="0C1D3E"/>
                </a:solidFill>
                <a:latin typeface="Calibri" panose="020F0502020204030204"/>
                <a:cs typeface="Arial" panose="020B0604020202020204" pitchFamily="34" charset="0"/>
              </a:rPr>
              <a:t>Funding &amp; Financing plan</a:t>
            </a:r>
          </a:p>
        </p:txBody>
      </p:sp>
      <p:sp>
        <p:nvSpPr>
          <p:cNvPr id="191" name="Rectangle 52">
            <a:extLst>
              <a:ext uri="{FF2B5EF4-FFF2-40B4-BE49-F238E27FC236}">
                <a16:creationId xmlns:a16="http://schemas.microsoft.com/office/drawing/2014/main" id="{0D5DB6C5-72AA-D1A3-F498-C61128B56CC2}"/>
              </a:ext>
            </a:extLst>
          </p:cNvPr>
          <p:cNvSpPr/>
          <p:nvPr/>
        </p:nvSpPr>
        <p:spPr>
          <a:xfrm>
            <a:off x="6349969" y="3525714"/>
            <a:ext cx="1368000" cy="526251"/>
          </a:xfrm>
          <a:prstGeom prst="rect">
            <a:avLst/>
          </a:prstGeom>
          <a:solidFill>
            <a:srgbClr val="EDEDED"/>
          </a:solidFill>
          <a:ln w="12700" cap="flat" cmpd="sng" algn="ctr">
            <a:noFill/>
            <a:prstDash val="solid"/>
            <a:miter lim="800000"/>
          </a:ln>
          <a:effectLst/>
        </p:spPr>
        <p:txBody>
          <a:bodyPr lIns="0" rIns="0" rtlCol="0" anchor="ctr"/>
          <a:lstStyle/>
          <a:p>
            <a:pPr algn="ctr" fontAlgn="ctr">
              <a:spcAft>
                <a:spcPts val="800"/>
              </a:spcAft>
            </a:pPr>
            <a:r>
              <a:rPr lang="en-US" sz="1200" b="1" kern="0">
                <a:latin typeface="Calibri" panose="020F0502020204030204"/>
                <a:cs typeface="Arial" panose="020B0604020202020204" pitchFamily="34" charset="0"/>
              </a:rPr>
              <a:t>CBA (updates)</a:t>
            </a:r>
          </a:p>
        </p:txBody>
      </p:sp>
      <p:sp>
        <p:nvSpPr>
          <p:cNvPr id="193" name="Rectangle 55">
            <a:extLst>
              <a:ext uri="{FF2B5EF4-FFF2-40B4-BE49-F238E27FC236}">
                <a16:creationId xmlns:a16="http://schemas.microsoft.com/office/drawing/2014/main" id="{934F19FB-AE7B-7B17-B975-8138D080E9B0}"/>
              </a:ext>
            </a:extLst>
          </p:cNvPr>
          <p:cNvSpPr/>
          <p:nvPr/>
        </p:nvSpPr>
        <p:spPr>
          <a:xfrm>
            <a:off x="6349969" y="5326985"/>
            <a:ext cx="1368000" cy="1017735"/>
          </a:xfrm>
          <a:prstGeom prst="rect">
            <a:avLst/>
          </a:prstGeom>
          <a:solidFill>
            <a:srgbClr val="EDEDED"/>
          </a:solidFill>
          <a:ln w="12700" cap="flat" cmpd="sng" algn="ctr">
            <a:noFill/>
            <a:prstDash val="solid"/>
            <a:miter lim="800000"/>
          </a:ln>
          <a:effectLst/>
        </p:spPr>
        <p:txBody>
          <a:bodyPr lIns="0" rIns="0" rtlCol="0" anchor="ctr"/>
          <a:lstStyle/>
          <a:p>
            <a:pPr algn="ctr" fontAlgn="ctr">
              <a:spcAft>
                <a:spcPts val="800"/>
              </a:spcAft>
            </a:pPr>
            <a:r>
              <a:rPr lang="en-US" sz="1200" b="1" kern="0">
                <a:latin typeface="Calibri" panose="020F0502020204030204"/>
                <a:cs typeface="Arial" panose="020B0604020202020204" pitchFamily="34" charset="0"/>
              </a:rPr>
              <a:t>Other regulatory</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 &amp; legal framework plans</a:t>
            </a:r>
          </a:p>
        </p:txBody>
      </p:sp>
      <p:sp>
        <p:nvSpPr>
          <p:cNvPr id="198" name="Rectangle 33">
            <a:extLst>
              <a:ext uri="{FF2B5EF4-FFF2-40B4-BE49-F238E27FC236}">
                <a16:creationId xmlns:a16="http://schemas.microsoft.com/office/drawing/2014/main" id="{665E0AFB-7203-4FD1-F5CC-5CE543B5BCE6}"/>
              </a:ext>
            </a:extLst>
          </p:cNvPr>
          <p:cNvSpPr/>
          <p:nvPr/>
        </p:nvSpPr>
        <p:spPr>
          <a:xfrm>
            <a:off x="7806853" y="2476457"/>
            <a:ext cx="1368000" cy="1883599"/>
          </a:xfrm>
          <a:prstGeom prst="rect">
            <a:avLst/>
          </a:prstGeom>
          <a:solidFill>
            <a:srgbClr val="EDEDED"/>
          </a:solidFill>
          <a:ln w="12700" cap="flat" cmpd="sng" algn="ctr">
            <a:noFill/>
            <a:prstDash val="solid"/>
            <a:miter lim="800000"/>
          </a:ln>
          <a:effectLst/>
        </p:spPr>
        <p:txBody>
          <a:bodyPr lIns="0" rIns="0" rtlCol="0" anchor="ctr"/>
          <a:lstStyle/>
          <a:p>
            <a:pPr algn="ctr" fontAlgn="ctr">
              <a:lnSpc>
                <a:spcPct val="107000"/>
              </a:lnSpc>
              <a:spcAft>
                <a:spcPts val="800"/>
              </a:spcAft>
            </a:pPr>
            <a:br>
              <a:rPr lang="en-US" sz="1100" b="1" kern="0">
                <a:latin typeface="Calibri" panose="020F0502020204030204"/>
                <a:cs typeface="Arial" panose="020B0604020202020204" pitchFamily="34" charset="0"/>
              </a:rPr>
            </a:br>
            <a:br>
              <a:rPr lang="en-US" sz="1100" b="1" kern="0">
                <a:latin typeface="Calibri" panose="020F0502020204030204"/>
                <a:cs typeface="Arial" panose="020B0604020202020204" pitchFamily="34" charset="0"/>
              </a:rPr>
            </a:br>
            <a:br>
              <a:rPr lang="en-US" sz="1100" b="1" kern="0">
                <a:latin typeface="Calibri" panose="020F0502020204030204"/>
                <a:cs typeface="Arial" panose="020B0604020202020204" pitchFamily="34" charset="0"/>
              </a:rPr>
            </a:br>
            <a:r>
              <a:rPr lang="en-GB" sz="1100" b="1" kern="0">
                <a:latin typeface="Calibri" panose="020F0502020204030204"/>
                <a:cs typeface="Arial" panose="020B0604020202020204" pitchFamily="34" charset="0"/>
              </a:rPr>
              <a:t>development of efficient &amp; suitable authorisation process &amp; requirements</a:t>
            </a:r>
          </a:p>
          <a:p>
            <a:pPr algn="ctr" fontAlgn="ctr">
              <a:lnSpc>
                <a:spcPct val="107000"/>
              </a:lnSpc>
              <a:spcAft>
                <a:spcPts val="800"/>
              </a:spcAft>
            </a:pPr>
            <a:r>
              <a:rPr lang="en-GB" sz="1100" b="1" kern="0">
                <a:latin typeface="Calibri" panose="020F0502020204030204"/>
                <a:cs typeface="Arial" panose="020B0604020202020204" pitchFamily="34" charset="0"/>
              </a:rPr>
              <a:t>preparing TSI </a:t>
            </a:r>
            <a:br>
              <a:rPr lang="en-GB" sz="1100" b="1" kern="0">
                <a:latin typeface="Calibri" panose="020F0502020204030204"/>
                <a:cs typeface="Arial" panose="020B0604020202020204" pitchFamily="34" charset="0"/>
              </a:rPr>
            </a:br>
            <a:r>
              <a:rPr lang="en-GB" sz="1100" b="1" kern="0">
                <a:latin typeface="Calibri" panose="020F0502020204030204"/>
                <a:cs typeface="Arial" panose="020B0604020202020204" pitchFamily="34" charset="0"/>
              </a:rPr>
              <a:t>drafts for the EC</a:t>
            </a:r>
          </a:p>
        </p:txBody>
      </p:sp>
      <p:sp>
        <p:nvSpPr>
          <p:cNvPr id="199" name="Rectangle 50">
            <a:extLst>
              <a:ext uri="{FF2B5EF4-FFF2-40B4-BE49-F238E27FC236}">
                <a16:creationId xmlns:a16="http://schemas.microsoft.com/office/drawing/2014/main" id="{5A0884E6-8BC5-DAD6-07D9-991E22566A74}"/>
              </a:ext>
            </a:extLst>
          </p:cNvPr>
          <p:cNvSpPr/>
          <p:nvPr/>
        </p:nvSpPr>
        <p:spPr>
          <a:xfrm>
            <a:off x="9262050" y="2474417"/>
            <a:ext cx="1368000" cy="3870302"/>
          </a:xfrm>
          <a:prstGeom prst="rect">
            <a:avLst/>
          </a:prstGeom>
          <a:solidFill>
            <a:srgbClr val="EDEDED"/>
          </a:solidFill>
          <a:ln w="12700" cap="flat" cmpd="sng" algn="ctr">
            <a:noFill/>
            <a:prstDash val="solid"/>
            <a:miter lim="800000"/>
          </a:ln>
          <a:effectLst/>
        </p:spPr>
        <p:txBody>
          <a:bodyPr lIns="0" rIns="0" rtlCol="0" anchor="ctr"/>
          <a:lstStyle/>
          <a:p>
            <a:pPr algn="ctr" fontAlgn="ctr">
              <a:lnSpc>
                <a:spcPct val="107000"/>
              </a:lnSpc>
              <a:spcAft>
                <a:spcPts val="800"/>
              </a:spcAft>
            </a:pPr>
            <a:br>
              <a:rPr lang="en-US" sz="1200" b="1" kern="0">
                <a:latin typeface="Calibri" panose="020F0502020204030204"/>
                <a:cs typeface="Arial" panose="020B0604020202020204" pitchFamily="34" charset="0"/>
              </a:rPr>
            </a:br>
            <a:br>
              <a:rPr lang="en-US" sz="1200" b="1" kern="0">
                <a:latin typeface="Calibri" panose="020F0502020204030204"/>
                <a:cs typeface="Arial" panose="020B0604020202020204" pitchFamily="34" charset="0"/>
              </a:rPr>
            </a:br>
            <a:br>
              <a:rPr lang="en-US" sz="1200" b="1" kern="0">
                <a:latin typeface="Calibri" panose="020F0502020204030204"/>
                <a:cs typeface="Arial" panose="020B0604020202020204" pitchFamily="34" charset="0"/>
              </a:rPr>
            </a:br>
            <a:br>
              <a:rPr lang="en-US" sz="1200" b="1" kern="0">
                <a:latin typeface="Calibri" panose="020F0502020204030204"/>
                <a:cs typeface="Arial" panose="020B0604020202020204" pitchFamily="34" charset="0"/>
              </a:rPr>
            </a:b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Operational procedures standardization  (plan &amp; execution)</a:t>
            </a:r>
          </a:p>
          <a:p>
            <a:pPr algn="ctr" fontAlgn="ctr">
              <a:lnSpc>
                <a:spcPct val="107000"/>
              </a:lnSpc>
              <a:spcAft>
                <a:spcPts val="800"/>
              </a:spcAft>
            </a:pPr>
            <a:r>
              <a:rPr lang="en-US" sz="1200" b="1" kern="0">
                <a:latin typeface="Calibri" panose="020F0502020204030204"/>
                <a:cs typeface="Arial" panose="020B0604020202020204" pitchFamily="34" charset="0"/>
              </a:rPr>
              <a:t>Technical </a:t>
            </a:r>
            <a:br>
              <a:rPr lang="en-US" sz="1200" b="1" kern="0">
                <a:latin typeface="Calibri" panose="020F0502020204030204"/>
                <a:cs typeface="Arial" panose="020B0604020202020204" pitchFamily="34" charset="0"/>
              </a:rPr>
            </a:br>
            <a:r>
              <a:rPr lang="en-US" sz="1200" b="1" kern="0" err="1">
                <a:latin typeface="Calibri" panose="020F0502020204030204"/>
                <a:cs typeface="Arial" panose="020B0604020202020204" pitchFamily="34" charset="0"/>
              </a:rPr>
              <a:t>harmonisation</a:t>
            </a:r>
            <a:r>
              <a:rPr lang="en-US" sz="1200" b="1" kern="0">
                <a:latin typeface="Calibri" panose="020F0502020204030204"/>
                <a:cs typeface="Arial" panose="020B0604020202020204" pitchFamily="34" charset="0"/>
              </a:rPr>
              <a:t>: preparing inputs for ERA TSI drafting process &amp; driving</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EU </a:t>
            </a:r>
            <a:r>
              <a:rPr lang="en-US" sz="1200" b="1" kern="0" err="1">
                <a:latin typeface="Calibri" panose="020F0502020204030204"/>
                <a:cs typeface="Arial" panose="020B0604020202020204" pitchFamily="34" charset="0"/>
              </a:rPr>
              <a:t>standardisation</a:t>
            </a:r>
            <a:endParaRPr lang="en-US" sz="1200" b="1" kern="0">
              <a:latin typeface="Calibri" panose="020F0502020204030204"/>
              <a:cs typeface="Arial" panose="020B0604020202020204" pitchFamily="34" charset="0"/>
            </a:endParaRPr>
          </a:p>
          <a:p>
            <a:pPr algn="ctr" fontAlgn="ctr">
              <a:lnSpc>
                <a:spcPct val="107000"/>
              </a:lnSpc>
              <a:spcAft>
                <a:spcPts val="800"/>
              </a:spcAft>
            </a:pPr>
            <a:r>
              <a:rPr lang="en-US" sz="1200" b="1" kern="0">
                <a:latin typeface="Calibri" panose="020F0502020204030204"/>
                <a:cs typeface="Arial" panose="020B0604020202020204" pitchFamily="34" charset="0"/>
              </a:rPr>
              <a:t>Alignment of  </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rail &amp; DAC system  architecture</a:t>
            </a:r>
          </a:p>
        </p:txBody>
      </p:sp>
      <p:grpSp>
        <p:nvGrpSpPr>
          <p:cNvPr id="1044" name="Gruppieren 1043">
            <a:extLst>
              <a:ext uri="{FF2B5EF4-FFF2-40B4-BE49-F238E27FC236}">
                <a16:creationId xmlns:a16="http://schemas.microsoft.com/office/drawing/2014/main" id="{7864961A-578D-332D-4BFF-E84EF229277D}"/>
              </a:ext>
            </a:extLst>
          </p:cNvPr>
          <p:cNvGrpSpPr/>
          <p:nvPr/>
        </p:nvGrpSpPr>
        <p:grpSpPr>
          <a:xfrm>
            <a:off x="10717250" y="2474417"/>
            <a:ext cx="1368000" cy="3870302"/>
            <a:chOff x="10774998" y="2669417"/>
            <a:chExt cx="1332000" cy="3918666"/>
          </a:xfrm>
        </p:grpSpPr>
        <p:sp>
          <p:nvSpPr>
            <p:cNvPr id="204" name="Rectangle 59">
              <a:extLst>
                <a:ext uri="{FF2B5EF4-FFF2-40B4-BE49-F238E27FC236}">
                  <a16:creationId xmlns:a16="http://schemas.microsoft.com/office/drawing/2014/main" id="{1840C9D3-8DAA-0DA5-6E1A-BC25054B3BDA}"/>
                </a:ext>
              </a:extLst>
            </p:cNvPr>
            <p:cNvSpPr/>
            <p:nvPr/>
          </p:nvSpPr>
          <p:spPr>
            <a:xfrm>
              <a:off x="10774998" y="2669417"/>
              <a:ext cx="1332000" cy="3918666"/>
            </a:xfrm>
            <a:prstGeom prst="rect">
              <a:avLst/>
            </a:prstGeom>
            <a:solidFill>
              <a:srgbClr val="EDEDED"/>
            </a:solidFill>
            <a:ln w="12700" cap="flat" cmpd="sng" algn="ctr">
              <a:noFill/>
              <a:prstDash val="solid"/>
              <a:miter lim="800000"/>
            </a:ln>
            <a:effectLst/>
          </p:spPr>
          <p:txBody>
            <a:bodyPr lIns="0" rIns="0" rtlCol="0" anchor="ctr"/>
            <a:lstStyle/>
            <a:p>
              <a:pPr algn="ctr" fontAlgn="ctr">
                <a:lnSpc>
                  <a:spcPct val="107000"/>
                </a:lnSpc>
                <a:spcAft>
                  <a:spcPts val="800"/>
                </a:spcAft>
              </a:pPr>
              <a:br>
                <a:rPr lang="en-US" sz="1200" b="1" kern="0">
                  <a:latin typeface="Calibri" panose="020F0502020204030204"/>
                  <a:cs typeface="Arial" panose="020B0604020202020204" pitchFamily="34" charset="0"/>
                </a:rPr>
              </a:br>
              <a:br>
                <a:rPr lang="en-US" sz="1200" b="1" kern="0">
                  <a:latin typeface="Calibri" panose="020F0502020204030204"/>
                  <a:cs typeface="Arial" panose="020B0604020202020204" pitchFamily="34" charset="0"/>
                </a:rPr>
              </a:br>
              <a:br>
                <a:rPr lang="en-US" sz="1200" b="1" kern="0">
                  <a:latin typeface="Calibri" panose="020F0502020204030204"/>
                  <a:cs typeface="Arial" panose="020B0604020202020204" pitchFamily="34" charset="0"/>
                </a:rPr>
              </a:br>
              <a:br>
                <a:rPr lang="en-US" sz="1200" b="1" kern="0">
                  <a:latin typeface="Calibri" panose="020F0502020204030204"/>
                  <a:cs typeface="Arial" panose="020B0604020202020204" pitchFamily="34" charset="0"/>
                </a:rPr>
              </a:br>
              <a:endParaRPr lang="en-US" sz="1200" b="1" kern="0">
                <a:latin typeface="Calibri" panose="020F0502020204030204"/>
                <a:cs typeface="Arial" panose="020B0604020202020204" pitchFamily="34" charset="0"/>
              </a:endParaRPr>
            </a:p>
            <a:p>
              <a:pPr algn="ctr" fontAlgn="ctr">
                <a:lnSpc>
                  <a:spcPct val="107000"/>
                </a:lnSpc>
                <a:spcAft>
                  <a:spcPts val="800"/>
                </a:spcAft>
              </a:pPr>
              <a:endParaRPr lang="en-US" sz="1200" b="1" kern="0">
                <a:latin typeface="Calibri" panose="020F0502020204030204"/>
                <a:cs typeface="Arial" panose="020B0604020202020204" pitchFamily="34" charset="0"/>
              </a:endParaRPr>
            </a:p>
            <a:p>
              <a:pPr algn="ctr" fontAlgn="ctr">
                <a:lnSpc>
                  <a:spcPct val="107000"/>
                </a:lnSpc>
                <a:spcAft>
                  <a:spcPts val="800"/>
                </a:spcAft>
              </a:pPr>
              <a:r>
                <a:rPr lang="en-US" sz="1200" b="1" kern="0">
                  <a:latin typeface="Calibri" panose="020F0502020204030204"/>
                  <a:cs typeface="Arial" panose="020B0604020202020204" pitchFamily="34" charset="0"/>
                </a:rPr>
                <a:t>Executing</a:t>
              </a: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European </a:t>
              </a:r>
              <a:r>
                <a:rPr lang="en-US" sz="1200" b="1" kern="0" err="1">
                  <a:latin typeface="Calibri" panose="020F0502020204030204"/>
                  <a:cs typeface="Arial" panose="020B0604020202020204" pitchFamily="34" charset="0"/>
                </a:rPr>
                <a:t>standardisation</a:t>
              </a:r>
              <a:endParaRPr lang="en-US" sz="1200" b="1" kern="0">
                <a:latin typeface="Calibri" panose="020F0502020204030204"/>
                <a:cs typeface="Arial" panose="020B0604020202020204" pitchFamily="34" charset="0"/>
              </a:endParaRPr>
            </a:p>
          </p:txBody>
        </p:sp>
        <p:pic>
          <p:nvPicPr>
            <p:cNvPr id="205" name="Picture 15">
              <a:extLst>
                <a:ext uri="{FF2B5EF4-FFF2-40B4-BE49-F238E27FC236}">
                  <a16:creationId xmlns:a16="http://schemas.microsoft.com/office/drawing/2014/main" id="{DB0F8C9F-141E-44E5-1F85-4B7651233BD2}"/>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117666" y="3121885"/>
              <a:ext cx="646662" cy="517845"/>
            </a:xfrm>
            <a:prstGeom prst="rect">
              <a:avLst/>
            </a:prstGeom>
          </p:spPr>
        </p:pic>
        <p:pic>
          <p:nvPicPr>
            <p:cNvPr id="206" name="Picture 17">
              <a:extLst>
                <a:ext uri="{FF2B5EF4-FFF2-40B4-BE49-F238E27FC236}">
                  <a16:creationId xmlns:a16="http://schemas.microsoft.com/office/drawing/2014/main" id="{60EC0377-F8E6-AAA2-CB91-ABB1DD9EA202}"/>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052477" y="3828416"/>
              <a:ext cx="777043" cy="386078"/>
            </a:xfrm>
            <a:prstGeom prst="rect">
              <a:avLst/>
            </a:prstGeom>
          </p:spPr>
        </p:pic>
      </p:grpSp>
      <p:grpSp>
        <p:nvGrpSpPr>
          <p:cNvPr id="1052" name="Gruppieren 1051">
            <a:extLst>
              <a:ext uri="{FF2B5EF4-FFF2-40B4-BE49-F238E27FC236}">
                <a16:creationId xmlns:a16="http://schemas.microsoft.com/office/drawing/2014/main" id="{F37BF71F-082A-C2A8-4DAB-9FB62D8C3062}"/>
              </a:ext>
            </a:extLst>
          </p:cNvPr>
          <p:cNvGrpSpPr/>
          <p:nvPr/>
        </p:nvGrpSpPr>
        <p:grpSpPr>
          <a:xfrm>
            <a:off x="7807658" y="4400719"/>
            <a:ext cx="1368000" cy="1944000"/>
            <a:chOff x="7882773" y="4669413"/>
            <a:chExt cx="1368000" cy="1944000"/>
          </a:xfrm>
        </p:grpSpPr>
        <p:sp>
          <p:nvSpPr>
            <p:cNvPr id="197" name="Rectangle 32">
              <a:extLst>
                <a:ext uri="{FF2B5EF4-FFF2-40B4-BE49-F238E27FC236}">
                  <a16:creationId xmlns:a16="http://schemas.microsoft.com/office/drawing/2014/main" id="{EFBED334-E58B-105D-27DB-A9EAC844DAC2}"/>
                </a:ext>
              </a:extLst>
            </p:cNvPr>
            <p:cNvSpPr/>
            <p:nvPr/>
          </p:nvSpPr>
          <p:spPr>
            <a:xfrm>
              <a:off x="7882773" y="4669413"/>
              <a:ext cx="1368000" cy="1944000"/>
            </a:xfrm>
            <a:prstGeom prst="rect">
              <a:avLst/>
            </a:prstGeom>
            <a:solidFill>
              <a:srgbClr val="EDEDED"/>
            </a:solidFill>
            <a:ln w="12700" cap="flat" cmpd="sng" algn="ctr">
              <a:noFill/>
              <a:prstDash val="solid"/>
              <a:miter lim="800000"/>
            </a:ln>
            <a:effectLst/>
          </p:spPr>
          <p:txBody>
            <a:bodyPr lIns="0" rIns="0" rtlCol="0" anchor="ctr"/>
            <a:lstStyle/>
            <a:p>
              <a:pPr algn="ctr" fontAlgn="ctr">
                <a:lnSpc>
                  <a:spcPct val="107000"/>
                </a:lnSpc>
                <a:spcAft>
                  <a:spcPts val="800"/>
                </a:spcAft>
              </a:pPr>
              <a:br>
                <a:rPr lang="en-US" sz="1200" b="1" kern="0">
                  <a:latin typeface="Calibri" panose="020F0502020204030204"/>
                  <a:cs typeface="Arial" panose="020B0604020202020204" pitchFamily="34" charset="0"/>
                </a:rPr>
              </a:br>
              <a:br>
                <a:rPr lang="en-US" sz="1200" b="1" kern="0">
                  <a:latin typeface="Calibri" panose="020F0502020204030204"/>
                  <a:cs typeface="Arial" panose="020B0604020202020204" pitchFamily="34" charset="0"/>
                </a:rPr>
              </a:br>
              <a:r>
                <a:rPr lang="en-US" sz="1200" b="1" kern="0">
                  <a:latin typeface="Calibri" panose="020F0502020204030204"/>
                  <a:cs typeface="Arial" panose="020B0604020202020204" pitchFamily="34" charset="0"/>
                </a:rPr>
                <a:t>TSI revision</a:t>
              </a:r>
            </a:p>
          </p:txBody>
        </p:sp>
        <p:pic>
          <p:nvPicPr>
            <p:cNvPr id="203" name="Picture 5">
              <a:extLst>
                <a:ext uri="{FF2B5EF4-FFF2-40B4-BE49-F238E27FC236}">
                  <a16:creationId xmlns:a16="http://schemas.microsoft.com/office/drawing/2014/main" id="{4D5995DF-505E-7A06-9AE5-C425FBDF737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168302" y="5074282"/>
              <a:ext cx="796942" cy="393490"/>
            </a:xfrm>
            <a:prstGeom prst="rect">
              <a:avLst/>
            </a:prstGeom>
          </p:spPr>
        </p:pic>
      </p:grpSp>
      <p:sp>
        <p:nvSpPr>
          <p:cNvPr id="4" name="Rechteck 1046">
            <a:extLst>
              <a:ext uri="{FF2B5EF4-FFF2-40B4-BE49-F238E27FC236}">
                <a16:creationId xmlns:a16="http://schemas.microsoft.com/office/drawing/2014/main" id="{3C68B444-5BCA-DBD9-3F6C-B43B6BA47C31}"/>
              </a:ext>
            </a:extLst>
          </p:cNvPr>
          <p:cNvSpPr/>
          <p:nvPr/>
        </p:nvSpPr>
        <p:spPr>
          <a:xfrm>
            <a:off x="9258452" y="2205489"/>
            <a:ext cx="1381890" cy="4231548"/>
          </a:xfrm>
          <a:prstGeom prst="rect">
            <a:avLst/>
          </a:prstGeom>
          <a:noFill/>
          <a:ln w="19050">
            <a:solidFill>
              <a:srgbClr val="FF66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hteck 1024">
            <a:extLst>
              <a:ext uri="{FF2B5EF4-FFF2-40B4-BE49-F238E27FC236}">
                <a16:creationId xmlns:a16="http://schemas.microsoft.com/office/drawing/2014/main" id="{7B44810D-3609-58F1-2BC8-0072637D0656}"/>
              </a:ext>
            </a:extLst>
          </p:cNvPr>
          <p:cNvSpPr/>
          <p:nvPr/>
        </p:nvSpPr>
        <p:spPr>
          <a:xfrm>
            <a:off x="7799653" y="2205489"/>
            <a:ext cx="1382400" cy="4231548"/>
          </a:xfrm>
          <a:prstGeom prst="rect">
            <a:avLst/>
          </a:prstGeom>
          <a:noFill/>
          <a:ln w="19050">
            <a:solidFill>
              <a:srgbClr val="FF66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hteck 240">
            <a:extLst>
              <a:ext uri="{FF2B5EF4-FFF2-40B4-BE49-F238E27FC236}">
                <a16:creationId xmlns:a16="http://schemas.microsoft.com/office/drawing/2014/main" id="{F481FB4A-5427-D6C9-65B1-3FFD4F5F6F7B}"/>
              </a:ext>
            </a:extLst>
          </p:cNvPr>
          <p:cNvSpPr/>
          <p:nvPr/>
        </p:nvSpPr>
        <p:spPr>
          <a:xfrm>
            <a:off x="6352832" y="2205489"/>
            <a:ext cx="1369915" cy="4231548"/>
          </a:xfrm>
          <a:prstGeom prst="rect">
            <a:avLst/>
          </a:prstGeom>
          <a:noFill/>
          <a:ln w="19050">
            <a:solidFill>
              <a:srgbClr val="FF66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Rechteck 186">
            <a:extLst>
              <a:ext uri="{FF2B5EF4-FFF2-40B4-BE49-F238E27FC236}">
                <a16:creationId xmlns:a16="http://schemas.microsoft.com/office/drawing/2014/main" id="{E7E0B0E9-2FC1-56F4-3A0E-EDF96E5D6700}"/>
              </a:ext>
            </a:extLst>
          </p:cNvPr>
          <p:cNvSpPr/>
          <p:nvPr/>
        </p:nvSpPr>
        <p:spPr>
          <a:xfrm>
            <a:off x="3488360" y="2205489"/>
            <a:ext cx="2787018" cy="4231548"/>
          </a:xfrm>
          <a:prstGeom prst="rect">
            <a:avLst/>
          </a:prstGeom>
          <a:noFill/>
          <a:ln w="19050">
            <a:solidFill>
              <a:srgbClr val="FF66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4">
            <a:extLst>
              <a:ext uri="{FF2B5EF4-FFF2-40B4-BE49-F238E27FC236}">
                <a16:creationId xmlns:a16="http://schemas.microsoft.com/office/drawing/2014/main" id="{DE811BDA-D6D4-A079-844F-C9D93F824D13}"/>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957961" y="4231028"/>
            <a:ext cx="886574" cy="266665"/>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77A49C61-6E43-CE32-56A5-AD96BF8BE5CE}"/>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50212" y="2918192"/>
            <a:ext cx="516730" cy="39059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a:extLst>
              <a:ext uri="{FF2B5EF4-FFF2-40B4-BE49-F238E27FC236}">
                <a16:creationId xmlns:a16="http://schemas.microsoft.com/office/drawing/2014/main" id="{8F9EBCA5-987D-8F18-7168-085500062D27}"/>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402228" y="2987333"/>
            <a:ext cx="516730" cy="39059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a:extLst>
              <a:ext uri="{FF2B5EF4-FFF2-40B4-BE49-F238E27FC236}">
                <a16:creationId xmlns:a16="http://schemas.microsoft.com/office/drawing/2014/main" id="{6EDDC7C6-B9AE-7C58-0B5A-F14ACF0E4B64}"/>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8184079" y="2687526"/>
            <a:ext cx="613548" cy="371222"/>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ee4p_icon_group">
            <a:extLst>
              <a:ext uri="{FF2B5EF4-FFF2-40B4-BE49-F238E27FC236}">
                <a16:creationId xmlns:a16="http://schemas.microsoft.com/office/drawing/2014/main" id="{F5B323CE-96BB-A902-423D-1EEDCC65624E}"/>
              </a:ext>
            </a:extLst>
          </p:cNvPr>
          <p:cNvGrpSpPr>
            <a:grpSpLocks noChangeAspect="1"/>
          </p:cNvGrpSpPr>
          <p:nvPr/>
        </p:nvGrpSpPr>
        <p:grpSpPr>
          <a:xfrm>
            <a:off x="3869020" y="2534605"/>
            <a:ext cx="611596" cy="611596"/>
            <a:chOff x="4031943" y="2888999"/>
            <a:chExt cx="1080000" cy="1080000"/>
          </a:xfrm>
        </p:grpSpPr>
        <p:grpSp>
          <p:nvGrpSpPr>
            <p:cNvPr id="13" name="ee4p_icon_frame">
              <a:extLst>
                <a:ext uri="{FF2B5EF4-FFF2-40B4-BE49-F238E27FC236}">
                  <a16:creationId xmlns:a16="http://schemas.microsoft.com/office/drawing/2014/main" id="{707B389A-D9A2-B192-1F27-3BC8FDE7C8AC}"/>
                </a:ext>
              </a:extLst>
            </p:cNvPr>
            <p:cNvGrpSpPr>
              <a:grpSpLocks noChangeAspect="1"/>
            </p:cNvGrpSpPr>
            <p:nvPr/>
          </p:nvGrpSpPr>
          <p:grpSpPr>
            <a:xfrm>
              <a:off x="4031943" y="2888999"/>
              <a:ext cx="1080000" cy="1080000"/>
              <a:chOff x="4737100" y="1701800"/>
              <a:chExt cx="1098550" cy="1098550"/>
            </a:xfrm>
            <a:solidFill>
              <a:schemeClr val="accent3"/>
            </a:solidFill>
          </p:grpSpPr>
          <p:cxnSp>
            <p:nvCxnSpPr>
              <p:cNvPr id="15" name="ee4p_icon_frame_top">
                <a:extLst>
                  <a:ext uri="{FF2B5EF4-FFF2-40B4-BE49-F238E27FC236}">
                    <a16:creationId xmlns:a16="http://schemas.microsoft.com/office/drawing/2014/main" id="{53C51501-8C05-CF26-E756-32B143877E91}"/>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18" name="ee4p_icon_frame_bottom">
                <a:extLst>
                  <a:ext uri="{FF2B5EF4-FFF2-40B4-BE49-F238E27FC236}">
                    <a16:creationId xmlns:a16="http://schemas.microsoft.com/office/drawing/2014/main" id="{16479D02-3BFF-F0C3-F606-248CEE12DA18}"/>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23" name="ee4p_icon_frame_left">
                <a:extLst>
                  <a:ext uri="{FF2B5EF4-FFF2-40B4-BE49-F238E27FC236}">
                    <a16:creationId xmlns:a16="http://schemas.microsoft.com/office/drawing/2014/main" id="{D8FC3C93-88F1-F6A6-94DA-7A0A22A18599}"/>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35" name="ee4p_icon_frame_right">
                <a:extLst>
                  <a:ext uri="{FF2B5EF4-FFF2-40B4-BE49-F238E27FC236}">
                    <a16:creationId xmlns:a16="http://schemas.microsoft.com/office/drawing/2014/main" id="{97B6EDF4-F44F-298E-945C-CC0C1A620C17}"/>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14" name="ee4p_icon">
              <a:extLst>
                <a:ext uri="{FF2B5EF4-FFF2-40B4-BE49-F238E27FC236}">
                  <a16:creationId xmlns:a16="http://schemas.microsoft.com/office/drawing/2014/main" id="{139230EC-F486-07DD-F6F9-315CBFC0DC13}"/>
                </a:ext>
              </a:extLst>
            </p:cNvPr>
            <p:cNvSpPr>
              <a:spLocks noChangeAspect="1"/>
            </p:cNvSpPr>
            <p:nvPr/>
          </p:nvSpPr>
          <p:spPr>
            <a:xfrm>
              <a:off x="4064677" y="3229694"/>
              <a:ext cx="1014533" cy="398610"/>
            </a:xfrm>
            <a:custGeom>
              <a:avLst/>
              <a:gdLst>
                <a:gd name="connsiteX0" fmla="*/ 181898 w 1014533"/>
                <a:gd name="connsiteY0" fmla="*/ 325154 h 398610"/>
                <a:gd name="connsiteX1" fmla="*/ 223215 w 1014533"/>
                <a:gd name="connsiteY1" fmla="*/ 357564 h 398610"/>
                <a:gd name="connsiteX2" fmla="*/ 223215 w 1014533"/>
                <a:gd name="connsiteY2" fmla="*/ 337244 h 398610"/>
                <a:gd name="connsiteX3" fmla="*/ 203437 w 1014533"/>
                <a:gd name="connsiteY3" fmla="*/ 325154 h 398610"/>
                <a:gd name="connsiteX4" fmla="*/ 227584 w 1014533"/>
                <a:gd name="connsiteY4" fmla="*/ 325154 h 398610"/>
                <a:gd name="connsiteX5" fmla="*/ 279064 w 1014533"/>
                <a:gd name="connsiteY5" fmla="*/ 356274 h 398610"/>
                <a:gd name="connsiteX6" fmla="*/ 310185 w 1014533"/>
                <a:gd name="connsiteY6" fmla="*/ 325154 h 398610"/>
                <a:gd name="connsiteX7" fmla="*/ 347235 w 1014533"/>
                <a:gd name="connsiteY7" fmla="*/ 325154 h 398610"/>
                <a:gd name="connsiteX8" fmla="*/ 357395 w 1014533"/>
                <a:gd name="connsiteY8" fmla="*/ 314994 h 398610"/>
                <a:gd name="connsiteX9" fmla="*/ 357395 w 1014533"/>
                <a:gd name="connsiteY9" fmla="*/ 10194 h 398610"/>
                <a:gd name="connsiteX10" fmla="*/ 347235 w 1014533"/>
                <a:gd name="connsiteY10" fmla="*/ 34 h 398610"/>
                <a:gd name="connsiteX11" fmla="*/ 10160 w 1014533"/>
                <a:gd name="connsiteY11" fmla="*/ 34 h 398610"/>
                <a:gd name="connsiteX12" fmla="*/ 0 w 1014533"/>
                <a:gd name="connsiteY12" fmla="*/ 10194 h 398610"/>
                <a:gd name="connsiteX13" fmla="*/ 0 w 1014533"/>
                <a:gd name="connsiteY13" fmla="*/ 314994 h 398610"/>
                <a:gd name="connsiteX14" fmla="*/ 10160 w 1014533"/>
                <a:gd name="connsiteY14" fmla="*/ 325154 h 398610"/>
                <a:gd name="connsiteX15" fmla="*/ 268867 w 1014533"/>
                <a:gd name="connsiteY15" fmla="*/ 337244 h 398610"/>
                <a:gd name="connsiteX16" fmla="*/ 249089 w 1014533"/>
                <a:gd name="connsiteY16" fmla="*/ 325154 h 398610"/>
                <a:gd name="connsiteX17" fmla="*/ 288679 w 1014533"/>
                <a:gd name="connsiteY17" fmla="*/ 325154 h 398610"/>
                <a:gd name="connsiteX18" fmla="*/ 268867 w 1014533"/>
                <a:gd name="connsiteY18" fmla="*/ 337244 h 398610"/>
                <a:gd name="connsiteX19" fmla="*/ 337075 w 1014533"/>
                <a:gd name="connsiteY19" fmla="*/ 20320 h 398610"/>
                <a:gd name="connsiteX20" fmla="*/ 337075 w 1014533"/>
                <a:gd name="connsiteY20" fmla="*/ 304800 h 398610"/>
                <a:gd name="connsiteX21" fmla="*/ 20320 w 1014533"/>
                <a:gd name="connsiteY21" fmla="*/ 304800 h 398610"/>
                <a:gd name="connsiteX22" fmla="*/ 20320 w 1014533"/>
                <a:gd name="connsiteY22" fmla="*/ 271814 h 398610"/>
                <a:gd name="connsiteX23" fmla="*/ 301786 w 1014533"/>
                <a:gd name="connsiteY23" fmla="*/ 271814 h 398610"/>
                <a:gd name="connsiteX24" fmla="*/ 301786 w 1014533"/>
                <a:gd name="connsiteY24" fmla="*/ 251494 h 398610"/>
                <a:gd name="connsiteX25" fmla="*/ 20320 w 1014533"/>
                <a:gd name="connsiteY25" fmla="*/ 251494 h 398610"/>
                <a:gd name="connsiteX26" fmla="*/ 20320 w 1014533"/>
                <a:gd name="connsiteY26" fmla="*/ 20320 h 398610"/>
                <a:gd name="connsiteX27" fmla="*/ 821538 w 1014533"/>
                <a:gd name="connsiteY27" fmla="*/ 4233 h 398610"/>
                <a:gd name="connsiteX28" fmla="*/ 813274 w 1014533"/>
                <a:gd name="connsiteY28" fmla="*/ 0 h 398610"/>
                <a:gd name="connsiteX29" fmla="*/ 398543 w 1014533"/>
                <a:gd name="connsiteY29" fmla="*/ 0 h 398610"/>
                <a:gd name="connsiteX30" fmla="*/ 388383 w 1014533"/>
                <a:gd name="connsiteY30" fmla="*/ 10160 h 398610"/>
                <a:gd name="connsiteX31" fmla="*/ 388383 w 1014533"/>
                <a:gd name="connsiteY31" fmla="*/ 314960 h 398610"/>
                <a:gd name="connsiteX32" fmla="*/ 398543 w 1014533"/>
                <a:gd name="connsiteY32" fmla="*/ 325120 h 398610"/>
                <a:gd name="connsiteX33" fmla="*/ 443179 w 1014533"/>
                <a:gd name="connsiteY33" fmla="*/ 325120 h 398610"/>
                <a:gd name="connsiteX34" fmla="*/ 484497 w 1014533"/>
                <a:gd name="connsiteY34" fmla="*/ 357530 h 398610"/>
                <a:gd name="connsiteX35" fmla="*/ 484497 w 1014533"/>
                <a:gd name="connsiteY35" fmla="*/ 337210 h 398610"/>
                <a:gd name="connsiteX36" fmla="*/ 464685 w 1014533"/>
                <a:gd name="connsiteY36" fmla="*/ 325120 h 398610"/>
                <a:gd name="connsiteX37" fmla="*/ 488865 w 1014533"/>
                <a:gd name="connsiteY37" fmla="*/ 325120 h 398610"/>
                <a:gd name="connsiteX38" fmla="*/ 540346 w 1014533"/>
                <a:gd name="connsiteY38" fmla="*/ 356240 h 398610"/>
                <a:gd name="connsiteX39" fmla="*/ 571466 w 1014533"/>
                <a:gd name="connsiteY39" fmla="*/ 325120 h 398610"/>
                <a:gd name="connsiteX40" fmla="*/ 832781 w 1014533"/>
                <a:gd name="connsiteY40" fmla="*/ 325120 h 398610"/>
                <a:gd name="connsiteX41" fmla="*/ 874065 w 1014533"/>
                <a:gd name="connsiteY41" fmla="*/ 357530 h 398610"/>
                <a:gd name="connsiteX42" fmla="*/ 874065 w 1014533"/>
                <a:gd name="connsiteY42" fmla="*/ 337210 h 398610"/>
                <a:gd name="connsiteX43" fmla="*/ 854287 w 1014533"/>
                <a:gd name="connsiteY43" fmla="*/ 325120 h 398610"/>
                <a:gd name="connsiteX44" fmla="*/ 878467 w 1014533"/>
                <a:gd name="connsiteY44" fmla="*/ 325120 h 398610"/>
                <a:gd name="connsiteX45" fmla="*/ 929948 w 1014533"/>
                <a:gd name="connsiteY45" fmla="*/ 356240 h 398610"/>
                <a:gd name="connsiteX46" fmla="*/ 961068 w 1014533"/>
                <a:gd name="connsiteY46" fmla="*/ 325120 h 398610"/>
                <a:gd name="connsiteX47" fmla="*/ 975699 w 1014533"/>
                <a:gd name="connsiteY47" fmla="*/ 325120 h 398610"/>
                <a:gd name="connsiteX48" fmla="*/ 1014534 w 1014533"/>
                <a:gd name="connsiteY48" fmla="*/ 286129 h 398610"/>
                <a:gd name="connsiteX49" fmla="*/ 1007330 w 1014533"/>
                <a:gd name="connsiteY49" fmla="*/ 263652 h 398610"/>
                <a:gd name="connsiteX50" fmla="*/ 807991 w 1014533"/>
                <a:gd name="connsiteY50" fmla="*/ 20320 h 398610"/>
                <a:gd name="connsiteX51" fmla="*/ 973599 w 1014533"/>
                <a:gd name="connsiteY51" fmla="*/ 251528 h 398610"/>
                <a:gd name="connsiteX52" fmla="*/ 408703 w 1014533"/>
                <a:gd name="connsiteY52" fmla="*/ 251528 h 398610"/>
                <a:gd name="connsiteX53" fmla="*/ 408703 w 1014533"/>
                <a:gd name="connsiteY53" fmla="*/ 20320 h 398610"/>
                <a:gd name="connsiteX54" fmla="*/ 530081 w 1014533"/>
                <a:gd name="connsiteY54" fmla="*/ 337244 h 398610"/>
                <a:gd name="connsiteX55" fmla="*/ 510303 w 1014533"/>
                <a:gd name="connsiteY55" fmla="*/ 325154 h 398610"/>
                <a:gd name="connsiteX56" fmla="*/ 549893 w 1014533"/>
                <a:gd name="connsiteY56" fmla="*/ 325154 h 398610"/>
                <a:gd name="connsiteX57" fmla="*/ 530149 w 1014533"/>
                <a:gd name="connsiteY57" fmla="*/ 337244 h 398610"/>
                <a:gd name="connsiteX58" fmla="*/ 919548 w 1014533"/>
                <a:gd name="connsiteY58" fmla="*/ 337244 h 398610"/>
                <a:gd name="connsiteX59" fmla="*/ 899770 w 1014533"/>
                <a:gd name="connsiteY59" fmla="*/ 325154 h 398610"/>
                <a:gd name="connsiteX60" fmla="*/ 939326 w 1014533"/>
                <a:gd name="connsiteY60" fmla="*/ 325154 h 398610"/>
                <a:gd name="connsiteX61" fmla="*/ 919751 w 1014533"/>
                <a:gd name="connsiteY61" fmla="*/ 337244 h 398610"/>
                <a:gd name="connsiteX62" fmla="*/ 992022 w 1014533"/>
                <a:gd name="connsiteY62" fmla="*/ 294742 h 398610"/>
                <a:gd name="connsiteX63" fmla="*/ 975495 w 1014533"/>
                <a:gd name="connsiteY63" fmla="*/ 304902 h 398610"/>
                <a:gd name="connsiteX64" fmla="*/ 408703 w 1014533"/>
                <a:gd name="connsiteY64" fmla="*/ 304902 h 398610"/>
                <a:gd name="connsiteX65" fmla="*/ 408703 w 1014533"/>
                <a:gd name="connsiteY65" fmla="*/ 271915 h 398610"/>
                <a:gd name="connsiteX66" fmla="*/ 988229 w 1014533"/>
                <a:gd name="connsiteY66" fmla="*/ 271915 h 398610"/>
                <a:gd name="connsiteX67" fmla="*/ 990803 w 1014533"/>
                <a:gd name="connsiteY67" fmla="*/ 275472 h 398610"/>
                <a:gd name="connsiteX68" fmla="*/ 992226 w 1014533"/>
                <a:gd name="connsiteY68" fmla="*/ 294742 h 398610"/>
                <a:gd name="connsiteX69" fmla="*/ 433493 w 1014533"/>
                <a:gd name="connsiteY69" fmla="*/ 193142 h 398610"/>
                <a:gd name="connsiteX70" fmla="*/ 631342 w 1014533"/>
                <a:gd name="connsiteY70" fmla="*/ 193142 h 398610"/>
                <a:gd name="connsiteX71" fmla="*/ 641502 w 1014533"/>
                <a:gd name="connsiteY71" fmla="*/ 182982 h 398610"/>
                <a:gd name="connsiteX72" fmla="*/ 641502 w 1014533"/>
                <a:gd name="connsiteY72" fmla="*/ 55575 h 398610"/>
                <a:gd name="connsiteX73" fmla="*/ 631342 w 1014533"/>
                <a:gd name="connsiteY73" fmla="*/ 45415 h 398610"/>
                <a:gd name="connsiteX74" fmla="*/ 433697 w 1014533"/>
                <a:gd name="connsiteY74" fmla="*/ 45415 h 398610"/>
                <a:gd name="connsiteX75" fmla="*/ 423537 w 1014533"/>
                <a:gd name="connsiteY75" fmla="*/ 55575 h 398610"/>
                <a:gd name="connsiteX76" fmla="*/ 423537 w 1014533"/>
                <a:gd name="connsiteY76" fmla="*/ 183151 h 398610"/>
                <a:gd name="connsiteX77" fmla="*/ 433697 w 1014533"/>
                <a:gd name="connsiteY77" fmla="*/ 193311 h 398610"/>
                <a:gd name="connsiteX78" fmla="*/ 621182 w 1014533"/>
                <a:gd name="connsiteY78" fmla="*/ 172822 h 398610"/>
                <a:gd name="connsiteX79" fmla="*/ 542781 w 1014533"/>
                <a:gd name="connsiteY79" fmla="*/ 172822 h 398610"/>
                <a:gd name="connsiteX80" fmla="*/ 542781 w 1014533"/>
                <a:gd name="connsiteY80" fmla="*/ 65735 h 398610"/>
                <a:gd name="connsiteX81" fmla="*/ 621386 w 1014533"/>
                <a:gd name="connsiteY81" fmla="*/ 65735 h 398610"/>
                <a:gd name="connsiteX82" fmla="*/ 443653 w 1014533"/>
                <a:gd name="connsiteY82" fmla="*/ 65566 h 398610"/>
                <a:gd name="connsiteX83" fmla="*/ 522258 w 1014533"/>
                <a:gd name="connsiteY83" fmla="*/ 65566 h 398610"/>
                <a:gd name="connsiteX84" fmla="*/ 522258 w 1014533"/>
                <a:gd name="connsiteY84" fmla="*/ 172822 h 398610"/>
                <a:gd name="connsiteX85" fmla="*/ 443857 w 1014533"/>
                <a:gd name="connsiteY85" fmla="*/ 172822 h 398610"/>
                <a:gd name="connsiteX86" fmla="*/ 706086 w 1014533"/>
                <a:gd name="connsiteY86" fmla="*/ 193142 h 398610"/>
                <a:gd name="connsiteX87" fmla="*/ 861433 w 1014533"/>
                <a:gd name="connsiteY87" fmla="*/ 193142 h 398610"/>
                <a:gd name="connsiteX88" fmla="*/ 871613 w 1014533"/>
                <a:gd name="connsiteY88" fmla="*/ 183002 h 398610"/>
                <a:gd name="connsiteX89" fmla="*/ 869730 w 1014533"/>
                <a:gd name="connsiteY89" fmla="*/ 177089 h 398610"/>
                <a:gd name="connsiteX90" fmla="*/ 778866 w 1014533"/>
                <a:gd name="connsiteY90" fmla="*/ 49513 h 398610"/>
                <a:gd name="connsiteX91" fmla="*/ 770568 w 1014533"/>
                <a:gd name="connsiteY91" fmla="*/ 45246 h 398610"/>
                <a:gd name="connsiteX92" fmla="*/ 706222 w 1014533"/>
                <a:gd name="connsiteY92" fmla="*/ 45246 h 398610"/>
                <a:gd name="connsiteX93" fmla="*/ 696062 w 1014533"/>
                <a:gd name="connsiteY93" fmla="*/ 55406 h 398610"/>
                <a:gd name="connsiteX94" fmla="*/ 696062 w 1014533"/>
                <a:gd name="connsiteY94" fmla="*/ 182982 h 398610"/>
                <a:gd name="connsiteX95" fmla="*/ 706052 w 1014533"/>
                <a:gd name="connsiteY95" fmla="*/ 193311 h 398610"/>
                <a:gd name="connsiteX96" fmla="*/ 706289 w 1014533"/>
                <a:gd name="connsiteY96" fmla="*/ 193311 h 398610"/>
                <a:gd name="connsiteX97" fmla="*/ 716246 w 1014533"/>
                <a:gd name="connsiteY97" fmla="*/ 65566 h 398610"/>
                <a:gd name="connsiteX98" fmla="*/ 765353 w 1014533"/>
                <a:gd name="connsiteY98" fmla="*/ 65566 h 398610"/>
                <a:gd name="connsiteX99" fmla="*/ 841722 w 1014533"/>
                <a:gd name="connsiteY99" fmla="*/ 172822 h 398610"/>
                <a:gd name="connsiteX100" fmla="*/ 716449 w 1014533"/>
                <a:gd name="connsiteY100" fmla="*/ 172822 h 398610"/>
                <a:gd name="connsiteX101" fmla="*/ 79553 w 1014533"/>
                <a:gd name="connsiteY101" fmla="*/ 193142 h 398610"/>
                <a:gd name="connsiteX102" fmla="*/ 277605 w 1014533"/>
                <a:gd name="connsiteY102" fmla="*/ 193142 h 398610"/>
                <a:gd name="connsiteX103" fmla="*/ 287765 w 1014533"/>
                <a:gd name="connsiteY103" fmla="*/ 182982 h 398610"/>
                <a:gd name="connsiteX104" fmla="*/ 287765 w 1014533"/>
                <a:gd name="connsiteY104" fmla="*/ 55575 h 398610"/>
                <a:gd name="connsiteX105" fmla="*/ 277605 w 1014533"/>
                <a:gd name="connsiteY105" fmla="*/ 45415 h 398610"/>
                <a:gd name="connsiteX106" fmla="*/ 79756 w 1014533"/>
                <a:gd name="connsiteY106" fmla="*/ 45415 h 398610"/>
                <a:gd name="connsiteX107" fmla="*/ 69596 w 1014533"/>
                <a:gd name="connsiteY107" fmla="*/ 55575 h 398610"/>
                <a:gd name="connsiteX108" fmla="*/ 69596 w 1014533"/>
                <a:gd name="connsiteY108" fmla="*/ 183151 h 398610"/>
                <a:gd name="connsiteX109" fmla="*/ 79756 w 1014533"/>
                <a:gd name="connsiteY109" fmla="*/ 193311 h 398610"/>
                <a:gd name="connsiteX110" fmla="*/ 267242 w 1014533"/>
                <a:gd name="connsiteY110" fmla="*/ 172822 h 398610"/>
                <a:gd name="connsiteX111" fmla="*/ 188976 w 1014533"/>
                <a:gd name="connsiteY111" fmla="*/ 172822 h 398610"/>
                <a:gd name="connsiteX112" fmla="*/ 188976 w 1014533"/>
                <a:gd name="connsiteY112" fmla="*/ 65735 h 398610"/>
                <a:gd name="connsiteX113" fmla="*/ 267445 w 1014533"/>
                <a:gd name="connsiteY113" fmla="*/ 65735 h 398610"/>
                <a:gd name="connsiteX114" fmla="*/ 89916 w 1014533"/>
                <a:gd name="connsiteY114" fmla="*/ 65735 h 398610"/>
                <a:gd name="connsiteX115" fmla="*/ 168656 w 1014533"/>
                <a:gd name="connsiteY115" fmla="*/ 65735 h 398610"/>
                <a:gd name="connsiteX116" fmla="*/ 168656 w 1014533"/>
                <a:gd name="connsiteY116" fmla="*/ 172991 h 398610"/>
                <a:gd name="connsiteX117" fmla="*/ 89916 w 1014533"/>
                <a:gd name="connsiteY117" fmla="*/ 172991 h 398610"/>
                <a:gd name="connsiteX118" fmla="*/ 10160 w 1014533"/>
                <a:gd name="connsiteY118" fmla="*/ 378291 h 398610"/>
                <a:gd name="connsiteX119" fmla="*/ 1004485 w 1014533"/>
                <a:gd name="connsiteY119" fmla="*/ 378291 h 398610"/>
                <a:gd name="connsiteX120" fmla="*/ 1004485 w 1014533"/>
                <a:gd name="connsiteY120" fmla="*/ 398611 h 398610"/>
                <a:gd name="connsiteX121" fmla="*/ 10160 w 1014533"/>
                <a:gd name="connsiteY121" fmla="*/ 398611 h 39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14533" h="398610">
                  <a:moveTo>
                    <a:pt x="181898" y="325154"/>
                  </a:moveTo>
                  <a:cubicBezTo>
                    <a:pt x="186584" y="344170"/>
                    <a:pt x="203630" y="357541"/>
                    <a:pt x="223215" y="357564"/>
                  </a:cubicBezTo>
                  <a:lnTo>
                    <a:pt x="223215" y="337244"/>
                  </a:lnTo>
                  <a:cubicBezTo>
                    <a:pt x="214876" y="337244"/>
                    <a:pt x="207238" y="332577"/>
                    <a:pt x="203437" y="325154"/>
                  </a:cubicBezTo>
                  <a:lnTo>
                    <a:pt x="227584" y="325154"/>
                  </a:lnTo>
                  <a:cubicBezTo>
                    <a:pt x="233206" y="347963"/>
                    <a:pt x="256255" y="361896"/>
                    <a:pt x="279064" y="356274"/>
                  </a:cubicBezTo>
                  <a:cubicBezTo>
                    <a:pt x="294415" y="352491"/>
                    <a:pt x="306401" y="340506"/>
                    <a:pt x="310185" y="325154"/>
                  </a:cubicBezTo>
                  <a:lnTo>
                    <a:pt x="347235" y="325154"/>
                  </a:lnTo>
                  <a:cubicBezTo>
                    <a:pt x="352847" y="325154"/>
                    <a:pt x="357395" y="320606"/>
                    <a:pt x="357395" y="314994"/>
                  </a:cubicBezTo>
                  <a:lnTo>
                    <a:pt x="357395" y="10194"/>
                  </a:lnTo>
                  <a:cubicBezTo>
                    <a:pt x="357395" y="4583"/>
                    <a:pt x="352847" y="34"/>
                    <a:pt x="347235" y="34"/>
                  </a:cubicBezTo>
                  <a:lnTo>
                    <a:pt x="10160" y="34"/>
                  </a:lnTo>
                  <a:cubicBezTo>
                    <a:pt x="4549" y="34"/>
                    <a:pt x="0" y="4583"/>
                    <a:pt x="0" y="10194"/>
                  </a:cubicBezTo>
                  <a:lnTo>
                    <a:pt x="0" y="314994"/>
                  </a:lnTo>
                  <a:cubicBezTo>
                    <a:pt x="0" y="320606"/>
                    <a:pt x="4549" y="325154"/>
                    <a:pt x="10160" y="325154"/>
                  </a:cubicBezTo>
                  <a:close/>
                  <a:moveTo>
                    <a:pt x="268867" y="337244"/>
                  </a:moveTo>
                  <a:cubicBezTo>
                    <a:pt x="260533" y="337231"/>
                    <a:pt x="252902" y="332567"/>
                    <a:pt x="249089" y="325154"/>
                  </a:cubicBezTo>
                  <a:lnTo>
                    <a:pt x="288679" y="325154"/>
                  </a:lnTo>
                  <a:cubicBezTo>
                    <a:pt x="284861" y="332577"/>
                    <a:pt x="277215" y="337244"/>
                    <a:pt x="268867" y="337244"/>
                  </a:cubicBezTo>
                  <a:close/>
                  <a:moveTo>
                    <a:pt x="337075" y="20320"/>
                  </a:moveTo>
                  <a:lnTo>
                    <a:pt x="337075" y="304800"/>
                  </a:lnTo>
                  <a:lnTo>
                    <a:pt x="20320" y="304800"/>
                  </a:lnTo>
                  <a:lnTo>
                    <a:pt x="20320" y="271814"/>
                  </a:lnTo>
                  <a:lnTo>
                    <a:pt x="301786" y="271814"/>
                  </a:lnTo>
                  <a:lnTo>
                    <a:pt x="301786" y="251494"/>
                  </a:lnTo>
                  <a:lnTo>
                    <a:pt x="20320" y="251494"/>
                  </a:lnTo>
                  <a:lnTo>
                    <a:pt x="20320" y="20320"/>
                  </a:lnTo>
                  <a:close/>
                  <a:moveTo>
                    <a:pt x="821538" y="4233"/>
                  </a:moveTo>
                  <a:cubicBezTo>
                    <a:pt x="819628" y="1572"/>
                    <a:pt x="816549" y="-4"/>
                    <a:pt x="813274" y="0"/>
                  </a:cubicBezTo>
                  <a:lnTo>
                    <a:pt x="398543" y="0"/>
                  </a:lnTo>
                  <a:cubicBezTo>
                    <a:pt x="392931" y="0"/>
                    <a:pt x="388383" y="4549"/>
                    <a:pt x="388383" y="10160"/>
                  </a:cubicBezTo>
                  <a:lnTo>
                    <a:pt x="388383" y="314960"/>
                  </a:lnTo>
                  <a:cubicBezTo>
                    <a:pt x="388383" y="320572"/>
                    <a:pt x="392931" y="325120"/>
                    <a:pt x="398543" y="325120"/>
                  </a:cubicBezTo>
                  <a:lnTo>
                    <a:pt x="443179" y="325120"/>
                  </a:lnTo>
                  <a:cubicBezTo>
                    <a:pt x="447866" y="344136"/>
                    <a:pt x="464911" y="357507"/>
                    <a:pt x="484497" y="357530"/>
                  </a:cubicBezTo>
                  <a:lnTo>
                    <a:pt x="484497" y="337210"/>
                  </a:lnTo>
                  <a:cubicBezTo>
                    <a:pt x="476148" y="337210"/>
                    <a:pt x="468501" y="332544"/>
                    <a:pt x="464685" y="325120"/>
                  </a:cubicBezTo>
                  <a:lnTo>
                    <a:pt x="488865" y="325120"/>
                  </a:lnTo>
                  <a:cubicBezTo>
                    <a:pt x="494487" y="347929"/>
                    <a:pt x="517537" y="361862"/>
                    <a:pt x="540346" y="356240"/>
                  </a:cubicBezTo>
                  <a:cubicBezTo>
                    <a:pt x="555698" y="352457"/>
                    <a:pt x="567683" y="340472"/>
                    <a:pt x="571466" y="325120"/>
                  </a:cubicBezTo>
                  <a:lnTo>
                    <a:pt x="832781" y="325120"/>
                  </a:lnTo>
                  <a:cubicBezTo>
                    <a:pt x="837465" y="344123"/>
                    <a:pt x="854493" y="357493"/>
                    <a:pt x="874065" y="357530"/>
                  </a:cubicBezTo>
                  <a:lnTo>
                    <a:pt x="874065" y="337210"/>
                  </a:lnTo>
                  <a:cubicBezTo>
                    <a:pt x="865730" y="337197"/>
                    <a:pt x="858100" y="332533"/>
                    <a:pt x="854287" y="325120"/>
                  </a:cubicBezTo>
                  <a:lnTo>
                    <a:pt x="878467" y="325120"/>
                  </a:lnTo>
                  <a:cubicBezTo>
                    <a:pt x="884089" y="347929"/>
                    <a:pt x="907139" y="361862"/>
                    <a:pt x="929948" y="356240"/>
                  </a:cubicBezTo>
                  <a:cubicBezTo>
                    <a:pt x="945300" y="352457"/>
                    <a:pt x="957285" y="340472"/>
                    <a:pt x="961068" y="325120"/>
                  </a:cubicBezTo>
                  <a:lnTo>
                    <a:pt x="975699" y="325120"/>
                  </a:lnTo>
                  <a:cubicBezTo>
                    <a:pt x="997190" y="325076"/>
                    <a:pt x="1014578" y="307621"/>
                    <a:pt x="1014534" y="286129"/>
                  </a:cubicBezTo>
                  <a:cubicBezTo>
                    <a:pt x="1014517" y="278072"/>
                    <a:pt x="1012000" y="270219"/>
                    <a:pt x="1007330" y="263652"/>
                  </a:cubicBezTo>
                  <a:close/>
                  <a:moveTo>
                    <a:pt x="807991" y="20320"/>
                  </a:moveTo>
                  <a:lnTo>
                    <a:pt x="973599" y="251528"/>
                  </a:lnTo>
                  <a:lnTo>
                    <a:pt x="408703" y="251528"/>
                  </a:lnTo>
                  <a:lnTo>
                    <a:pt x="408703" y="20320"/>
                  </a:lnTo>
                  <a:close/>
                  <a:moveTo>
                    <a:pt x="530081" y="337244"/>
                  </a:moveTo>
                  <a:cubicBezTo>
                    <a:pt x="521743" y="337237"/>
                    <a:pt x="514110" y="332571"/>
                    <a:pt x="510303" y="325154"/>
                  </a:cubicBezTo>
                  <a:lnTo>
                    <a:pt x="549893" y="325154"/>
                  </a:lnTo>
                  <a:cubicBezTo>
                    <a:pt x="546086" y="332554"/>
                    <a:pt x="538473" y="337217"/>
                    <a:pt x="530149" y="337244"/>
                  </a:cubicBezTo>
                  <a:close/>
                  <a:moveTo>
                    <a:pt x="919548" y="337244"/>
                  </a:moveTo>
                  <a:cubicBezTo>
                    <a:pt x="911210" y="337237"/>
                    <a:pt x="903576" y="332571"/>
                    <a:pt x="899770" y="325154"/>
                  </a:cubicBezTo>
                  <a:lnTo>
                    <a:pt x="939326" y="325154"/>
                  </a:lnTo>
                  <a:cubicBezTo>
                    <a:pt x="935560" y="332513"/>
                    <a:pt x="928018" y="337170"/>
                    <a:pt x="919751" y="337244"/>
                  </a:cubicBezTo>
                  <a:close/>
                  <a:moveTo>
                    <a:pt x="992022" y="294742"/>
                  </a:moveTo>
                  <a:cubicBezTo>
                    <a:pt x="988910" y="301010"/>
                    <a:pt x="982496" y="304956"/>
                    <a:pt x="975495" y="304902"/>
                  </a:cubicBezTo>
                  <a:lnTo>
                    <a:pt x="408703" y="304902"/>
                  </a:lnTo>
                  <a:lnTo>
                    <a:pt x="408703" y="271915"/>
                  </a:lnTo>
                  <a:lnTo>
                    <a:pt x="988229" y="271915"/>
                  </a:lnTo>
                  <a:lnTo>
                    <a:pt x="990803" y="275472"/>
                  </a:lnTo>
                  <a:cubicBezTo>
                    <a:pt x="994901" y="281104"/>
                    <a:pt x="995453" y="288571"/>
                    <a:pt x="992226" y="294742"/>
                  </a:cubicBezTo>
                  <a:close/>
                  <a:moveTo>
                    <a:pt x="433493" y="193142"/>
                  </a:moveTo>
                  <a:lnTo>
                    <a:pt x="631342" y="193142"/>
                  </a:lnTo>
                  <a:cubicBezTo>
                    <a:pt x="636954" y="193142"/>
                    <a:pt x="641502" y="188593"/>
                    <a:pt x="641502" y="182982"/>
                  </a:cubicBezTo>
                  <a:lnTo>
                    <a:pt x="641502" y="55575"/>
                  </a:lnTo>
                  <a:cubicBezTo>
                    <a:pt x="641502" y="49963"/>
                    <a:pt x="636954" y="45415"/>
                    <a:pt x="631342" y="45415"/>
                  </a:cubicBezTo>
                  <a:lnTo>
                    <a:pt x="433697" y="45415"/>
                  </a:lnTo>
                  <a:cubicBezTo>
                    <a:pt x="428085" y="45415"/>
                    <a:pt x="423537" y="49963"/>
                    <a:pt x="423537" y="55575"/>
                  </a:cubicBezTo>
                  <a:lnTo>
                    <a:pt x="423537" y="183151"/>
                  </a:lnTo>
                  <a:cubicBezTo>
                    <a:pt x="423537" y="188763"/>
                    <a:pt x="428085" y="193311"/>
                    <a:pt x="433697" y="193311"/>
                  </a:cubicBezTo>
                  <a:close/>
                  <a:moveTo>
                    <a:pt x="621182" y="172822"/>
                  </a:moveTo>
                  <a:lnTo>
                    <a:pt x="542781" y="172822"/>
                  </a:lnTo>
                  <a:lnTo>
                    <a:pt x="542781" y="65735"/>
                  </a:lnTo>
                  <a:lnTo>
                    <a:pt x="621386" y="65735"/>
                  </a:lnTo>
                  <a:close/>
                  <a:moveTo>
                    <a:pt x="443653" y="65566"/>
                  </a:moveTo>
                  <a:lnTo>
                    <a:pt x="522258" y="65566"/>
                  </a:lnTo>
                  <a:lnTo>
                    <a:pt x="522258" y="172822"/>
                  </a:lnTo>
                  <a:lnTo>
                    <a:pt x="443857" y="172822"/>
                  </a:lnTo>
                  <a:close/>
                  <a:moveTo>
                    <a:pt x="706086" y="193142"/>
                  </a:moveTo>
                  <a:lnTo>
                    <a:pt x="861433" y="193142"/>
                  </a:lnTo>
                  <a:cubicBezTo>
                    <a:pt x="867044" y="193152"/>
                    <a:pt x="871603" y="188614"/>
                    <a:pt x="871613" y="183002"/>
                  </a:cubicBezTo>
                  <a:cubicBezTo>
                    <a:pt x="871616" y="180882"/>
                    <a:pt x="870959" y="178816"/>
                    <a:pt x="869730" y="177089"/>
                  </a:cubicBezTo>
                  <a:lnTo>
                    <a:pt x="778866" y="49513"/>
                  </a:lnTo>
                  <a:cubicBezTo>
                    <a:pt x="776956" y="46831"/>
                    <a:pt x="773864" y="45239"/>
                    <a:pt x="770568" y="45246"/>
                  </a:cubicBezTo>
                  <a:lnTo>
                    <a:pt x="706222" y="45246"/>
                  </a:lnTo>
                  <a:cubicBezTo>
                    <a:pt x="700610" y="45246"/>
                    <a:pt x="696062" y="49794"/>
                    <a:pt x="696062" y="55406"/>
                  </a:cubicBezTo>
                  <a:lnTo>
                    <a:pt x="696062" y="182982"/>
                  </a:lnTo>
                  <a:cubicBezTo>
                    <a:pt x="695967" y="188593"/>
                    <a:pt x="700441" y="193216"/>
                    <a:pt x="706052" y="193311"/>
                  </a:cubicBezTo>
                  <a:cubicBezTo>
                    <a:pt x="706130" y="193311"/>
                    <a:pt x="706211" y="193311"/>
                    <a:pt x="706289" y="193311"/>
                  </a:cubicBezTo>
                  <a:close/>
                  <a:moveTo>
                    <a:pt x="716246" y="65566"/>
                  </a:moveTo>
                  <a:lnTo>
                    <a:pt x="765353" y="65566"/>
                  </a:lnTo>
                  <a:lnTo>
                    <a:pt x="841722" y="172822"/>
                  </a:lnTo>
                  <a:lnTo>
                    <a:pt x="716449" y="172822"/>
                  </a:lnTo>
                  <a:close/>
                  <a:moveTo>
                    <a:pt x="79553" y="193142"/>
                  </a:moveTo>
                  <a:lnTo>
                    <a:pt x="277605" y="193142"/>
                  </a:lnTo>
                  <a:cubicBezTo>
                    <a:pt x="283216" y="193142"/>
                    <a:pt x="287765" y="188593"/>
                    <a:pt x="287765" y="182982"/>
                  </a:cubicBezTo>
                  <a:lnTo>
                    <a:pt x="287765" y="55575"/>
                  </a:lnTo>
                  <a:cubicBezTo>
                    <a:pt x="287765" y="49963"/>
                    <a:pt x="283216" y="45415"/>
                    <a:pt x="277605" y="45415"/>
                  </a:cubicBezTo>
                  <a:lnTo>
                    <a:pt x="79756" y="45415"/>
                  </a:lnTo>
                  <a:cubicBezTo>
                    <a:pt x="74145" y="45415"/>
                    <a:pt x="69596" y="49963"/>
                    <a:pt x="69596" y="55575"/>
                  </a:cubicBezTo>
                  <a:lnTo>
                    <a:pt x="69596" y="183151"/>
                  </a:lnTo>
                  <a:cubicBezTo>
                    <a:pt x="69596" y="188763"/>
                    <a:pt x="74145" y="193311"/>
                    <a:pt x="79756" y="193311"/>
                  </a:cubicBezTo>
                  <a:close/>
                  <a:moveTo>
                    <a:pt x="267242" y="172822"/>
                  </a:moveTo>
                  <a:lnTo>
                    <a:pt x="188976" y="172822"/>
                  </a:lnTo>
                  <a:lnTo>
                    <a:pt x="188976" y="65735"/>
                  </a:lnTo>
                  <a:lnTo>
                    <a:pt x="267445" y="65735"/>
                  </a:lnTo>
                  <a:close/>
                  <a:moveTo>
                    <a:pt x="89916" y="65735"/>
                  </a:moveTo>
                  <a:lnTo>
                    <a:pt x="168656" y="65735"/>
                  </a:lnTo>
                  <a:lnTo>
                    <a:pt x="168656" y="172991"/>
                  </a:lnTo>
                  <a:lnTo>
                    <a:pt x="89916" y="172991"/>
                  </a:lnTo>
                  <a:close/>
                  <a:moveTo>
                    <a:pt x="10160" y="378291"/>
                  </a:moveTo>
                  <a:lnTo>
                    <a:pt x="1004485" y="378291"/>
                  </a:lnTo>
                  <a:lnTo>
                    <a:pt x="1004485" y="398611"/>
                  </a:lnTo>
                  <a:lnTo>
                    <a:pt x="10160" y="398611"/>
                  </a:lnTo>
                  <a:close/>
                </a:path>
              </a:pathLst>
            </a:custGeom>
            <a:solidFill>
              <a:srgbClr val="000000"/>
            </a:solidFill>
            <a:ln w="3365" cap="flat">
              <a:noFill/>
              <a:prstDash val="solid"/>
              <a:miter/>
            </a:ln>
          </p:spPr>
          <p:txBody>
            <a:bodyPr rtlCol="0" anchor="ctr"/>
            <a:lstStyle/>
            <a:p>
              <a:endParaRPr lang="en-US"/>
            </a:p>
          </p:txBody>
        </p:sp>
      </p:grpSp>
      <p:grpSp>
        <p:nvGrpSpPr>
          <p:cNvPr id="38" name="ee4p_icon_group">
            <a:extLst>
              <a:ext uri="{FF2B5EF4-FFF2-40B4-BE49-F238E27FC236}">
                <a16:creationId xmlns:a16="http://schemas.microsoft.com/office/drawing/2014/main" id="{EC6AC7DC-C81D-444A-AAA9-970F6F11181F}"/>
              </a:ext>
            </a:extLst>
          </p:cNvPr>
          <p:cNvGrpSpPr>
            <a:grpSpLocks noChangeAspect="1"/>
          </p:cNvGrpSpPr>
          <p:nvPr/>
        </p:nvGrpSpPr>
        <p:grpSpPr>
          <a:xfrm>
            <a:off x="4221265" y="4162481"/>
            <a:ext cx="395490" cy="395490"/>
            <a:chOff x="4032000" y="2888933"/>
            <a:chExt cx="1080000" cy="1079999"/>
          </a:xfrm>
        </p:grpSpPr>
        <p:grpSp>
          <p:nvGrpSpPr>
            <p:cNvPr id="39" name="ee4p_icon_frame">
              <a:extLst>
                <a:ext uri="{FF2B5EF4-FFF2-40B4-BE49-F238E27FC236}">
                  <a16:creationId xmlns:a16="http://schemas.microsoft.com/office/drawing/2014/main" id="{CF23A48B-A831-C12A-8F71-816D0FD5BF4B}"/>
                </a:ext>
              </a:extLst>
            </p:cNvPr>
            <p:cNvGrpSpPr>
              <a:grpSpLocks noChangeAspect="1"/>
            </p:cNvGrpSpPr>
            <p:nvPr/>
          </p:nvGrpSpPr>
          <p:grpSpPr>
            <a:xfrm>
              <a:off x="4032000" y="2888933"/>
              <a:ext cx="1080000" cy="1079999"/>
              <a:chOff x="4737100" y="1701800"/>
              <a:chExt cx="1098550" cy="1098550"/>
            </a:xfrm>
            <a:solidFill>
              <a:schemeClr val="accent3"/>
            </a:solidFill>
          </p:grpSpPr>
          <p:cxnSp>
            <p:nvCxnSpPr>
              <p:cNvPr id="41" name="ee4p_icon_frame_top">
                <a:extLst>
                  <a:ext uri="{FF2B5EF4-FFF2-40B4-BE49-F238E27FC236}">
                    <a16:creationId xmlns:a16="http://schemas.microsoft.com/office/drawing/2014/main" id="{10D8561A-50E0-FB5B-713A-2C5F2B7991BF}"/>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42" name="ee4p_icon_frame_bottom">
                <a:extLst>
                  <a:ext uri="{FF2B5EF4-FFF2-40B4-BE49-F238E27FC236}">
                    <a16:creationId xmlns:a16="http://schemas.microsoft.com/office/drawing/2014/main" id="{BA68AB82-0139-CE62-08A6-6DA944B20FC1}"/>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45" name="ee4p_icon_frame_left">
                <a:extLst>
                  <a:ext uri="{FF2B5EF4-FFF2-40B4-BE49-F238E27FC236}">
                    <a16:creationId xmlns:a16="http://schemas.microsoft.com/office/drawing/2014/main" id="{6CE91C09-BCC0-7640-311C-065476391D62}"/>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47" name="ee4p_icon_frame_right">
                <a:extLst>
                  <a:ext uri="{FF2B5EF4-FFF2-40B4-BE49-F238E27FC236}">
                    <a16:creationId xmlns:a16="http://schemas.microsoft.com/office/drawing/2014/main" id="{B492348D-DA79-D175-C807-502C95FA21D5}"/>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40" name="ee4p_icon">
              <a:extLst>
                <a:ext uri="{FF2B5EF4-FFF2-40B4-BE49-F238E27FC236}">
                  <a16:creationId xmlns:a16="http://schemas.microsoft.com/office/drawing/2014/main" id="{88BCE26F-5D40-60E0-7E22-60732B921489}"/>
                </a:ext>
              </a:extLst>
            </p:cNvPr>
            <p:cNvSpPr>
              <a:spLocks noChangeAspect="1"/>
            </p:cNvSpPr>
            <p:nvPr/>
          </p:nvSpPr>
          <p:spPr>
            <a:xfrm>
              <a:off x="4064000" y="2982603"/>
              <a:ext cx="1016000" cy="892657"/>
            </a:xfrm>
            <a:custGeom>
              <a:avLst/>
              <a:gdLst>
                <a:gd name="connsiteX0" fmla="*/ 1005840 w 1016000"/>
                <a:gd name="connsiteY0" fmla="*/ 0 h 892657"/>
                <a:gd name="connsiteX1" fmla="*/ 10160 w 1016000"/>
                <a:gd name="connsiteY1" fmla="*/ 0 h 892657"/>
                <a:gd name="connsiteX2" fmla="*/ 0 w 1016000"/>
                <a:gd name="connsiteY2" fmla="*/ 10160 h 892657"/>
                <a:gd name="connsiteX3" fmla="*/ 0 w 1016000"/>
                <a:gd name="connsiteY3" fmla="*/ 728370 h 892657"/>
                <a:gd name="connsiteX4" fmla="*/ 10160 w 1016000"/>
                <a:gd name="connsiteY4" fmla="*/ 738530 h 892657"/>
                <a:gd name="connsiteX5" fmla="*/ 395563 w 1016000"/>
                <a:gd name="connsiteY5" fmla="*/ 738530 h 892657"/>
                <a:gd name="connsiteX6" fmla="*/ 395563 w 1016000"/>
                <a:gd name="connsiteY6" fmla="*/ 814764 h 892657"/>
                <a:gd name="connsiteX7" fmla="*/ 190500 w 1016000"/>
                <a:gd name="connsiteY7" fmla="*/ 814764 h 892657"/>
                <a:gd name="connsiteX8" fmla="*/ 180340 w 1016000"/>
                <a:gd name="connsiteY8" fmla="*/ 824924 h 892657"/>
                <a:gd name="connsiteX9" fmla="*/ 180340 w 1016000"/>
                <a:gd name="connsiteY9" fmla="*/ 882498 h 892657"/>
                <a:gd name="connsiteX10" fmla="*/ 190500 w 1016000"/>
                <a:gd name="connsiteY10" fmla="*/ 892658 h 892657"/>
                <a:gd name="connsiteX11" fmla="*/ 806365 w 1016000"/>
                <a:gd name="connsiteY11" fmla="*/ 892658 h 892657"/>
                <a:gd name="connsiteX12" fmla="*/ 816525 w 1016000"/>
                <a:gd name="connsiteY12" fmla="*/ 882498 h 892657"/>
                <a:gd name="connsiteX13" fmla="*/ 816525 w 1016000"/>
                <a:gd name="connsiteY13" fmla="*/ 824924 h 892657"/>
                <a:gd name="connsiteX14" fmla="*/ 806365 w 1016000"/>
                <a:gd name="connsiteY14" fmla="*/ 814764 h 892657"/>
                <a:gd name="connsiteX15" fmla="*/ 620437 w 1016000"/>
                <a:gd name="connsiteY15" fmla="*/ 814764 h 892657"/>
                <a:gd name="connsiteX16" fmla="*/ 620437 w 1016000"/>
                <a:gd name="connsiteY16" fmla="*/ 738530 h 892657"/>
                <a:gd name="connsiteX17" fmla="*/ 1005840 w 1016000"/>
                <a:gd name="connsiteY17" fmla="*/ 738530 h 892657"/>
                <a:gd name="connsiteX18" fmla="*/ 1016000 w 1016000"/>
                <a:gd name="connsiteY18" fmla="*/ 728370 h 892657"/>
                <a:gd name="connsiteX19" fmla="*/ 1016000 w 1016000"/>
                <a:gd name="connsiteY19" fmla="*/ 606857 h 892657"/>
                <a:gd name="connsiteX20" fmla="*/ 1005840 w 1016000"/>
                <a:gd name="connsiteY20" fmla="*/ 596697 h 892657"/>
                <a:gd name="connsiteX21" fmla="*/ 20320 w 1016000"/>
                <a:gd name="connsiteY21" fmla="*/ 596697 h 892657"/>
                <a:gd name="connsiteX22" fmla="*/ 20320 w 1016000"/>
                <a:gd name="connsiteY22" fmla="*/ 20320 h 892657"/>
                <a:gd name="connsiteX23" fmla="*/ 995680 w 1016000"/>
                <a:gd name="connsiteY23" fmla="*/ 20320 h 892657"/>
                <a:gd name="connsiteX24" fmla="*/ 995680 w 1016000"/>
                <a:gd name="connsiteY24" fmla="*/ 528015 h 892657"/>
                <a:gd name="connsiteX25" fmla="*/ 1016000 w 1016000"/>
                <a:gd name="connsiteY25" fmla="*/ 528015 h 892657"/>
                <a:gd name="connsiteX26" fmla="*/ 1016000 w 1016000"/>
                <a:gd name="connsiteY26" fmla="*/ 10160 h 892657"/>
                <a:gd name="connsiteX27" fmla="*/ 1005840 w 1016000"/>
                <a:gd name="connsiteY27" fmla="*/ 0 h 892657"/>
                <a:gd name="connsiteX28" fmla="*/ 610277 w 1016000"/>
                <a:gd name="connsiteY28" fmla="*/ 835084 h 892657"/>
                <a:gd name="connsiteX29" fmla="*/ 796205 w 1016000"/>
                <a:gd name="connsiteY29" fmla="*/ 835084 h 892657"/>
                <a:gd name="connsiteX30" fmla="*/ 796205 w 1016000"/>
                <a:gd name="connsiteY30" fmla="*/ 872338 h 892657"/>
                <a:gd name="connsiteX31" fmla="*/ 200660 w 1016000"/>
                <a:gd name="connsiteY31" fmla="*/ 872338 h 892657"/>
                <a:gd name="connsiteX32" fmla="*/ 200660 w 1016000"/>
                <a:gd name="connsiteY32" fmla="*/ 835084 h 892657"/>
                <a:gd name="connsiteX33" fmla="*/ 405723 w 1016000"/>
                <a:gd name="connsiteY33" fmla="*/ 835084 h 892657"/>
                <a:gd name="connsiteX34" fmla="*/ 415883 w 1016000"/>
                <a:gd name="connsiteY34" fmla="*/ 824924 h 892657"/>
                <a:gd name="connsiteX35" fmla="*/ 415883 w 1016000"/>
                <a:gd name="connsiteY35" fmla="*/ 738530 h 892657"/>
                <a:gd name="connsiteX36" fmla="*/ 600117 w 1016000"/>
                <a:gd name="connsiteY36" fmla="*/ 738530 h 892657"/>
                <a:gd name="connsiteX37" fmla="*/ 600117 w 1016000"/>
                <a:gd name="connsiteY37" fmla="*/ 824924 h 892657"/>
                <a:gd name="connsiteX38" fmla="*/ 610277 w 1016000"/>
                <a:gd name="connsiteY38" fmla="*/ 835084 h 892657"/>
                <a:gd name="connsiteX39" fmla="*/ 995680 w 1016000"/>
                <a:gd name="connsiteY39" fmla="*/ 617017 h 892657"/>
                <a:gd name="connsiteX40" fmla="*/ 995680 w 1016000"/>
                <a:gd name="connsiteY40" fmla="*/ 718210 h 892657"/>
                <a:gd name="connsiteX41" fmla="*/ 20320 w 1016000"/>
                <a:gd name="connsiteY41" fmla="*/ 718210 h 892657"/>
                <a:gd name="connsiteX42" fmla="*/ 20320 w 1016000"/>
                <a:gd name="connsiteY42" fmla="*/ 617017 h 892657"/>
                <a:gd name="connsiteX43" fmla="*/ 565573 w 1016000"/>
                <a:gd name="connsiteY43" fmla="*/ 679162 h 892657"/>
                <a:gd name="connsiteX44" fmla="*/ 431123 w 1016000"/>
                <a:gd name="connsiteY44" fmla="*/ 679162 h 892657"/>
                <a:gd name="connsiteX45" fmla="*/ 431123 w 1016000"/>
                <a:gd name="connsiteY45" fmla="*/ 658842 h 892657"/>
                <a:gd name="connsiteX46" fmla="*/ 565743 w 1016000"/>
                <a:gd name="connsiteY46" fmla="*/ 658842 h 892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16000" h="892657">
                  <a:moveTo>
                    <a:pt x="1005840" y="0"/>
                  </a:moveTo>
                  <a:lnTo>
                    <a:pt x="10160" y="0"/>
                  </a:lnTo>
                  <a:cubicBezTo>
                    <a:pt x="4549" y="0"/>
                    <a:pt x="0" y="4549"/>
                    <a:pt x="0" y="10160"/>
                  </a:cubicBezTo>
                  <a:lnTo>
                    <a:pt x="0" y="728370"/>
                  </a:lnTo>
                  <a:cubicBezTo>
                    <a:pt x="0" y="733982"/>
                    <a:pt x="4549" y="738530"/>
                    <a:pt x="10160" y="738530"/>
                  </a:cubicBezTo>
                  <a:lnTo>
                    <a:pt x="395563" y="738530"/>
                  </a:lnTo>
                  <a:lnTo>
                    <a:pt x="395563" y="814764"/>
                  </a:lnTo>
                  <a:lnTo>
                    <a:pt x="190500" y="814764"/>
                  </a:lnTo>
                  <a:cubicBezTo>
                    <a:pt x="184889" y="814764"/>
                    <a:pt x="180340" y="819313"/>
                    <a:pt x="180340" y="824924"/>
                  </a:cubicBezTo>
                  <a:lnTo>
                    <a:pt x="180340" y="882498"/>
                  </a:lnTo>
                  <a:cubicBezTo>
                    <a:pt x="180340" y="888109"/>
                    <a:pt x="184889" y="892658"/>
                    <a:pt x="190500" y="892658"/>
                  </a:cubicBezTo>
                  <a:lnTo>
                    <a:pt x="806365" y="892658"/>
                  </a:lnTo>
                  <a:cubicBezTo>
                    <a:pt x="811977" y="892658"/>
                    <a:pt x="816525" y="888109"/>
                    <a:pt x="816525" y="882498"/>
                  </a:cubicBezTo>
                  <a:lnTo>
                    <a:pt x="816525" y="824924"/>
                  </a:lnTo>
                  <a:cubicBezTo>
                    <a:pt x="816525" y="819313"/>
                    <a:pt x="811977" y="814764"/>
                    <a:pt x="806365" y="814764"/>
                  </a:cubicBezTo>
                  <a:lnTo>
                    <a:pt x="620437" y="814764"/>
                  </a:lnTo>
                  <a:lnTo>
                    <a:pt x="620437" y="738530"/>
                  </a:lnTo>
                  <a:lnTo>
                    <a:pt x="1005840" y="738530"/>
                  </a:lnTo>
                  <a:cubicBezTo>
                    <a:pt x="1011452" y="738530"/>
                    <a:pt x="1016000" y="733982"/>
                    <a:pt x="1016000" y="728370"/>
                  </a:cubicBezTo>
                  <a:lnTo>
                    <a:pt x="1016000" y="606857"/>
                  </a:lnTo>
                  <a:cubicBezTo>
                    <a:pt x="1016000" y="601245"/>
                    <a:pt x="1011452" y="596697"/>
                    <a:pt x="1005840" y="596697"/>
                  </a:cubicBezTo>
                  <a:lnTo>
                    <a:pt x="20320" y="596697"/>
                  </a:lnTo>
                  <a:lnTo>
                    <a:pt x="20320" y="20320"/>
                  </a:lnTo>
                  <a:lnTo>
                    <a:pt x="995680" y="20320"/>
                  </a:lnTo>
                  <a:lnTo>
                    <a:pt x="995680" y="528015"/>
                  </a:lnTo>
                  <a:lnTo>
                    <a:pt x="1016000" y="528015"/>
                  </a:lnTo>
                  <a:lnTo>
                    <a:pt x="1016000" y="10160"/>
                  </a:lnTo>
                  <a:cubicBezTo>
                    <a:pt x="1016000" y="4549"/>
                    <a:pt x="1011452" y="0"/>
                    <a:pt x="1005840" y="0"/>
                  </a:cubicBezTo>
                  <a:close/>
                  <a:moveTo>
                    <a:pt x="610277" y="835084"/>
                  </a:moveTo>
                  <a:lnTo>
                    <a:pt x="796205" y="835084"/>
                  </a:lnTo>
                  <a:lnTo>
                    <a:pt x="796205" y="872338"/>
                  </a:lnTo>
                  <a:lnTo>
                    <a:pt x="200660" y="872338"/>
                  </a:lnTo>
                  <a:lnTo>
                    <a:pt x="200660" y="835084"/>
                  </a:lnTo>
                  <a:lnTo>
                    <a:pt x="405723" y="835084"/>
                  </a:lnTo>
                  <a:cubicBezTo>
                    <a:pt x="411334" y="835084"/>
                    <a:pt x="415883" y="830536"/>
                    <a:pt x="415883" y="824924"/>
                  </a:cubicBezTo>
                  <a:lnTo>
                    <a:pt x="415883" y="738530"/>
                  </a:lnTo>
                  <a:lnTo>
                    <a:pt x="600117" y="738530"/>
                  </a:lnTo>
                  <a:lnTo>
                    <a:pt x="600117" y="824924"/>
                  </a:lnTo>
                  <a:cubicBezTo>
                    <a:pt x="600117" y="830536"/>
                    <a:pt x="604666" y="835084"/>
                    <a:pt x="610277" y="835084"/>
                  </a:cubicBezTo>
                  <a:close/>
                  <a:moveTo>
                    <a:pt x="995680" y="617017"/>
                  </a:moveTo>
                  <a:lnTo>
                    <a:pt x="995680" y="718210"/>
                  </a:lnTo>
                  <a:lnTo>
                    <a:pt x="20320" y="718210"/>
                  </a:lnTo>
                  <a:lnTo>
                    <a:pt x="20320" y="617017"/>
                  </a:lnTo>
                  <a:close/>
                  <a:moveTo>
                    <a:pt x="565573" y="679162"/>
                  </a:moveTo>
                  <a:lnTo>
                    <a:pt x="431123" y="679162"/>
                  </a:lnTo>
                  <a:lnTo>
                    <a:pt x="431123" y="658842"/>
                  </a:lnTo>
                  <a:lnTo>
                    <a:pt x="565743" y="658842"/>
                  </a:lnTo>
                  <a:close/>
                </a:path>
              </a:pathLst>
            </a:custGeom>
            <a:solidFill>
              <a:srgbClr val="000000"/>
            </a:solidFill>
            <a:ln w="3365" cap="flat">
              <a:noFill/>
              <a:prstDash val="solid"/>
              <a:miter/>
            </a:ln>
          </p:spPr>
          <p:txBody>
            <a:bodyPr rtlCol="0" anchor="ctr"/>
            <a:lstStyle/>
            <a:p>
              <a:endParaRPr lang="en-US"/>
            </a:p>
          </p:txBody>
        </p:sp>
      </p:grpSp>
      <p:grpSp>
        <p:nvGrpSpPr>
          <p:cNvPr id="48" name="ee4p_icon_group">
            <a:extLst>
              <a:ext uri="{FF2B5EF4-FFF2-40B4-BE49-F238E27FC236}">
                <a16:creationId xmlns:a16="http://schemas.microsoft.com/office/drawing/2014/main" id="{042732F7-5651-82AD-D380-3161FB244562}"/>
              </a:ext>
            </a:extLst>
          </p:cNvPr>
          <p:cNvGrpSpPr>
            <a:grpSpLocks noChangeAspect="1"/>
          </p:cNvGrpSpPr>
          <p:nvPr/>
        </p:nvGrpSpPr>
        <p:grpSpPr>
          <a:xfrm>
            <a:off x="3809651" y="4134540"/>
            <a:ext cx="398875" cy="398875"/>
            <a:chOff x="4032000" y="2889067"/>
            <a:chExt cx="1080000" cy="1079999"/>
          </a:xfrm>
        </p:grpSpPr>
        <p:grpSp>
          <p:nvGrpSpPr>
            <p:cNvPr id="49" name="ee4p_icon_frame">
              <a:extLst>
                <a:ext uri="{FF2B5EF4-FFF2-40B4-BE49-F238E27FC236}">
                  <a16:creationId xmlns:a16="http://schemas.microsoft.com/office/drawing/2014/main" id="{4CE00FCC-F0D5-4A94-8981-F3CB510A6076}"/>
                </a:ext>
              </a:extLst>
            </p:cNvPr>
            <p:cNvGrpSpPr>
              <a:grpSpLocks noChangeAspect="1"/>
            </p:cNvGrpSpPr>
            <p:nvPr/>
          </p:nvGrpSpPr>
          <p:grpSpPr>
            <a:xfrm>
              <a:off x="4032000" y="2889067"/>
              <a:ext cx="1080000" cy="1079999"/>
              <a:chOff x="4737100" y="1701800"/>
              <a:chExt cx="1098550" cy="1098550"/>
            </a:xfrm>
            <a:solidFill>
              <a:schemeClr val="accent3"/>
            </a:solidFill>
          </p:grpSpPr>
          <p:cxnSp>
            <p:nvCxnSpPr>
              <p:cNvPr id="51" name="ee4p_icon_frame_top">
                <a:extLst>
                  <a:ext uri="{FF2B5EF4-FFF2-40B4-BE49-F238E27FC236}">
                    <a16:creationId xmlns:a16="http://schemas.microsoft.com/office/drawing/2014/main" id="{7878B3D7-1DA2-533C-C1C1-482551557818}"/>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52" name="ee4p_icon_frame_bottom">
                <a:extLst>
                  <a:ext uri="{FF2B5EF4-FFF2-40B4-BE49-F238E27FC236}">
                    <a16:creationId xmlns:a16="http://schemas.microsoft.com/office/drawing/2014/main" id="{2EB6E0F7-8FAE-BC22-F9BB-79B943586B44}"/>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53" name="ee4p_icon_frame_left">
                <a:extLst>
                  <a:ext uri="{FF2B5EF4-FFF2-40B4-BE49-F238E27FC236}">
                    <a16:creationId xmlns:a16="http://schemas.microsoft.com/office/drawing/2014/main" id="{81C112AF-F1F0-BC3E-D313-648F29C3EDE7}"/>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55" name="ee4p_icon_frame_right">
                <a:extLst>
                  <a:ext uri="{FF2B5EF4-FFF2-40B4-BE49-F238E27FC236}">
                    <a16:creationId xmlns:a16="http://schemas.microsoft.com/office/drawing/2014/main" id="{3BBFB749-0141-5A8A-E3FA-3F28EFBDC7B1}"/>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50" name="ee4p_icon">
              <a:extLst>
                <a:ext uri="{FF2B5EF4-FFF2-40B4-BE49-F238E27FC236}">
                  <a16:creationId xmlns:a16="http://schemas.microsoft.com/office/drawing/2014/main" id="{22A66C6C-8CE0-F09C-9C8F-E258B9089C70}"/>
                </a:ext>
              </a:extLst>
            </p:cNvPr>
            <p:cNvSpPr>
              <a:spLocks noChangeAspect="1"/>
            </p:cNvSpPr>
            <p:nvPr/>
          </p:nvSpPr>
          <p:spPr>
            <a:xfrm>
              <a:off x="4064144" y="2921276"/>
              <a:ext cx="1015711" cy="1015579"/>
            </a:xfrm>
            <a:custGeom>
              <a:avLst/>
              <a:gdLst>
                <a:gd name="connsiteX0" fmla="*/ 824881 w 1015711"/>
                <a:gd name="connsiteY0" fmla="*/ 2839 h 1015579"/>
                <a:gd name="connsiteX1" fmla="*/ 810522 w 1015711"/>
                <a:gd name="connsiteY1" fmla="*/ 2839 h 1015579"/>
                <a:gd name="connsiteX2" fmla="*/ 320844 w 1015711"/>
                <a:gd name="connsiteY2" fmla="*/ 492517 h 1015579"/>
                <a:gd name="connsiteX3" fmla="*/ 2971 w 1015711"/>
                <a:gd name="connsiteY3" fmla="*/ 810389 h 1015579"/>
                <a:gd name="connsiteX4" fmla="*/ 2971 w 1015711"/>
                <a:gd name="connsiteY4" fmla="*/ 824749 h 1015579"/>
                <a:gd name="connsiteX5" fmla="*/ 190830 w 1015711"/>
                <a:gd name="connsiteY5" fmla="*/ 1012607 h 1015579"/>
                <a:gd name="connsiteX6" fmla="*/ 205189 w 1015711"/>
                <a:gd name="connsiteY6" fmla="*/ 1012607 h 1015579"/>
                <a:gd name="connsiteX7" fmla="*/ 408694 w 1015711"/>
                <a:gd name="connsiteY7" fmla="*/ 809136 h 1015579"/>
                <a:gd name="connsiteX8" fmla="*/ 394335 w 1015711"/>
                <a:gd name="connsiteY8" fmla="*/ 794777 h 1015579"/>
                <a:gd name="connsiteX9" fmla="*/ 197908 w 1015711"/>
                <a:gd name="connsiteY9" fmla="*/ 991204 h 1015579"/>
                <a:gd name="connsiteX10" fmla="*/ 24544 w 1015711"/>
                <a:gd name="connsiteY10" fmla="*/ 817569 h 1015579"/>
                <a:gd name="connsiteX11" fmla="*/ 71958 w 1015711"/>
                <a:gd name="connsiteY11" fmla="*/ 770156 h 1015579"/>
                <a:gd name="connsiteX12" fmla="*/ 151985 w 1015711"/>
                <a:gd name="connsiteY12" fmla="*/ 850183 h 1015579"/>
                <a:gd name="connsiteX13" fmla="*/ 166344 w 1015711"/>
                <a:gd name="connsiteY13" fmla="*/ 835823 h 1015579"/>
                <a:gd name="connsiteX14" fmla="*/ 86148 w 1015711"/>
                <a:gd name="connsiteY14" fmla="*/ 755966 h 1015579"/>
                <a:gd name="connsiteX15" fmla="*/ 147819 w 1015711"/>
                <a:gd name="connsiteY15" fmla="*/ 694295 h 1015579"/>
                <a:gd name="connsiteX16" fmla="*/ 227846 w 1015711"/>
                <a:gd name="connsiteY16" fmla="*/ 774322 h 1015579"/>
                <a:gd name="connsiteX17" fmla="*/ 242205 w 1015711"/>
                <a:gd name="connsiteY17" fmla="*/ 759962 h 1015579"/>
                <a:gd name="connsiteX18" fmla="*/ 162179 w 1015711"/>
                <a:gd name="connsiteY18" fmla="*/ 679935 h 1015579"/>
                <a:gd name="connsiteX19" fmla="*/ 223850 w 1015711"/>
                <a:gd name="connsiteY19" fmla="*/ 618264 h 1015579"/>
                <a:gd name="connsiteX20" fmla="*/ 303877 w 1015711"/>
                <a:gd name="connsiteY20" fmla="*/ 698291 h 1015579"/>
                <a:gd name="connsiteX21" fmla="*/ 318202 w 1015711"/>
                <a:gd name="connsiteY21" fmla="*/ 683830 h 1015579"/>
                <a:gd name="connsiteX22" fmla="*/ 238209 w 1015711"/>
                <a:gd name="connsiteY22" fmla="*/ 603871 h 1015579"/>
                <a:gd name="connsiteX23" fmla="*/ 299880 w 1015711"/>
                <a:gd name="connsiteY23" fmla="*/ 542199 h 1015579"/>
                <a:gd name="connsiteX24" fmla="*/ 379907 w 1015711"/>
                <a:gd name="connsiteY24" fmla="*/ 622260 h 1015579"/>
                <a:gd name="connsiteX25" fmla="*/ 394267 w 1015711"/>
                <a:gd name="connsiteY25" fmla="*/ 607867 h 1015579"/>
                <a:gd name="connsiteX26" fmla="*/ 314240 w 1015711"/>
                <a:gd name="connsiteY26" fmla="*/ 527840 h 1015579"/>
                <a:gd name="connsiteX27" fmla="*/ 335136 w 1015711"/>
                <a:gd name="connsiteY27" fmla="*/ 506876 h 1015579"/>
                <a:gd name="connsiteX28" fmla="*/ 372660 w 1015711"/>
                <a:gd name="connsiteY28" fmla="*/ 469352 h 1015579"/>
                <a:gd name="connsiteX29" fmla="*/ 452687 w 1015711"/>
                <a:gd name="connsiteY29" fmla="*/ 549379 h 1015579"/>
                <a:gd name="connsiteX30" fmla="*/ 467080 w 1015711"/>
                <a:gd name="connsiteY30" fmla="*/ 535020 h 1015579"/>
                <a:gd name="connsiteX31" fmla="*/ 387019 w 1015711"/>
                <a:gd name="connsiteY31" fmla="*/ 454993 h 1015579"/>
                <a:gd name="connsiteX32" fmla="*/ 455057 w 1015711"/>
                <a:gd name="connsiteY32" fmla="*/ 386955 h 1015579"/>
                <a:gd name="connsiteX33" fmla="*/ 535152 w 1015711"/>
                <a:gd name="connsiteY33" fmla="*/ 467083 h 1015579"/>
                <a:gd name="connsiteX34" fmla="*/ 549512 w 1015711"/>
                <a:gd name="connsiteY34" fmla="*/ 452690 h 1015579"/>
                <a:gd name="connsiteX35" fmla="*/ 469485 w 1015711"/>
                <a:gd name="connsiteY35" fmla="*/ 372595 h 1015579"/>
                <a:gd name="connsiteX36" fmla="*/ 527972 w 1015711"/>
                <a:gd name="connsiteY36" fmla="*/ 314107 h 1015579"/>
                <a:gd name="connsiteX37" fmla="*/ 607999 w 1015711"/>
                <a:gd name="connsiteY37" fmla="*/ 394134 h 1015579"/>
                <a:gd name="connsiteX38" fmla="*/ 622393 w 1015711"/>
                <a:gd name="connsiteY38" fmla="*/ 379775 h 1015579"/>
                <a:gd name="connsiteX39" fmla="*/ 542366 w 1015711"/>
                <a:gd name="connsiteY39" fmla="*/ 299748 h 1015579"/>
                <a:gd name="connsiteX40" fmla="*/ 604003 w 1015711"/>
                <a:gd name="connsiteY40" fmla="*/ 238077 h 1015579"/>
                <a:gd name="connsiteX41" fmla="*/ 683962 w 1015711"/>
                <a:gd name="connsiteY41" fmla="*/ 318070 h 1015579"/>
                <a:gd name="connsiteX42" fmla="*/ 698322 w 1015711"/>
                <a:gd name="connsiteY42" fmla="*/ 303710 h 1015579"/>
                <a:gd name="connsiteX43" fmla="*/ 618396 w 1015711"/>
                <a:gd name="connsiteY43" fmla="*/ 223717 h 1015579"/>
                <a:gd name="connsiteX44" fmla="*/ 680068 w 1015711"/>
                <a:gd name="connsiteY44" fmla="*/ 162046 h 1015579"/>
                <a:gd name="connsiteX45" fmla="*/ 760095 w 1015711"/>
                <a:gd name="connsiteY45" fmla="*/ 242073 h 1015579"/>
                <a:gd name="connsiteX46" fmla="*/ 774454 w 1015711"/>
                <a:gd name="connsiteY46" fmla="*/ 227713 h 1015579"/>
                <a:gd name="connsiteX47" fmla="*/ 694427 w 1015711"/>
                <a:gd name="connsiteY47" fmla="*/ 147687 h 1015579"/>
                <a:gd name="connsiteX48" fmla="*/ 756098 w 1015711"/>
                <a:gd name="connsiteY48" fmla="*/ 86015 h 1015579"/>
                <a:gd name="connsiteX49" fmla="*/ 836125 w 1015711"/>
                <a:gd name="connsiteY49" fmla="*/ 166042 h 1015579"/>
                <a:gd name="connsiteX50" fmla="*/ 850485 w 1015711"/>
                <a:gd name="connsiteY50" fmla="*/ 151683 h 1015579"/>
                <a:gd name="connsiteX51" fmla="*/ 770458 w 1015711"/>
                <a:gd name="connsiteY51" fmla="*/ 71656 h 1015579"/>
                <a:gd name="connsiteX52" fmla="*/ 817871 w 1015711"/>
                <a:gd name="connsiteY52" fmla="*/ 24412 h 1015579"/>
                <a:gd name="connsiteX53" fmla="*/ 991336 w 1015711"/>
                <a:gd name="connsiteY53" fmla="*/ 197877 h 1015579"/>
                <a:gd name="connsiteX54" fmla="*/ 537692 w 1015711"/>
                <a:gd name="connsiteY54" fmla="*/ 651690 h 1015579"/>
                <a:gd name="connsiteX55" fmla="*/ 552052 w 1015711"/>
                <a:gd name="connsiteY55" fmla="*/ 666050 h 1015579"/>
                <a:gd name="connsiteX56" fmla="*/ 1012740 w 1015711"/>
                <a:gd name="connsiteY56" fmla="*/ 205057 h 1015579"/>
                <a:gd name="connsiteX57" fmla="*/ 1012740 w 1015711"/>
                <a:gd name="connsiteY57" fmla="*/ 190697 h 101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15711" h="1015579">
                  <a:moveTo>
                    <a:pt x="824881" y="2839"/>
                  </a:moveTo>
                  <a:cubicBezTo>
                    <a:pt x="820845" y="-946"/>
                    <a:pt x="814559" y="-946"/>
                    <a:pt x="810522" y="2839"/>
                  </a:cubicBezTo>
                  <a:lnTo>
                    <a:pt x="320844" y="492517"/>
                  </a:lnTo>
                  <a:lnTo>
                    <a:pt x="2971" y="810389"/>
                  </a:lnTo>
                  <a:cubicBezTo>
                    <a:pt x="-990" y="814355"/>
                    <a:pt x="-990" y="820783"/>
                    <a:pt x="2971" y="824749"/>
                  </a:cubicBezTo>
                  <a:lnTo>
                    <a:pt x="190830" y="1012607"/>
                  </a:lnTo>
                  <a:cubicBezTo>
                    <a:pt x="194797" y="1016570"/>
                    <a:pt x="201222" y="1016570"/>
                    <a:pt x="205189" y="1012607"/>
                  </a:cubicBezTo>
                  <a:lnTo>
                    <a:pt x="408694" y="809136"/>
                  </a:lnTo>
                  <a:lnTo>
                    <a:pt x="394335" y="794777"/>
                  </a:lnTo>
                  <a:lnTo>
                    <a:pt x="197908" y="991204"/>
                  </a:lnTo>
                  <a:lnTo>
                    <a:pt x="24544" y="817569"/>
                  </a:lnTo>
                  <a:lnTo>
                    <a:pt x="71958" y="770156"/>
                  </a:lnTo>
                  <a:lnTo>
                    <a:pt x="151985" y="850183"/>
                  </a:lnTo>
                  <a:lnTo>
                    <a:pt x="166344" y="835823"/>
                  </a:lnTo>
                  <a:lnTo>
                    <a:pt x="86148" y="755966"/>
                  </a:lnTo>
                  <a:lnTo>
                    <a:pt x="147819" y="694295"/>
                  </a:lnTo>
                  <a:lnTo>
                    <a:pt x="227846" y="774322"/>
                  </a:lnTo>
                  <a:lnTo>
                    <a:pt x="242205" y="759962"/>
                  </a:lnTo>
                  <a:lnTo>
                    <a:pt x="162179" y="679935"/>
                  </a:lnTo>
                  <a:lnTo>
                    <a:pt x="223850" y="618264"/>
                  </a:lnTo>
                  <a:lnTo>
                    <a:pt x="303877" y="698291"/>
                  </a:lnTo>
                  <a:lnTo>
                    <a:pt x="318202" y="683830"/>
                  </a:lnTo>
                  <a:lnTo>
                    <a:pt x="238209" y="603871"/>
                  </a:lnTo>
                  <a:lnTo>
                    <a:pt x="299880" y="542199"/>
                  </a:lnTo>
                  <a:lnTo>
                    <a:pt x="379907" y="622260"/>
                  </a:lnTo>
                  <a:lnTo>
                    <a:pt x="394267" y="607867"/>
                  </a:lnTo>
                  <a:lnTo>
                    <a:pt x="314240" y="527840"/>
                  </a:lnTo>
                  <a:lnTo>
                    <a:pt x="335136" y="506876"/>
                  </a:lnTo>
                  <a:lnTo>
                    <a:pt x="372660" y="469352"/>
                  </a:lnTo>
                  <a:lnTo>
                    <a:pt x="452687" y="549379"/>
                  </a:lnTo>
                  <a:lnTo>
                    <a:pt x="467080" y="535020"/>
                  </a:lnTo>
                  <a:lnTo>
                    <a:pt x="387019" y="454993"/>
                  </a:lnTo>
                  <a:lnTo>
                    <a:pt x="455057" y="386955"/>
                  </a:lnTo>
                  <a:lnTo>
                    <a:pt x="535152" y="467083"/>
                  </a:lnTo>
                  <a:lnTo>
                    <a:pt x="549512" y="452690"/>
                  </a:lnTo>
                  <a:lnTo>
                    <a:pt x="469485" y="372595"/>
                  </a:lnTo>
                  <a:lnTo>
                    <a:pt x="527972" y="314107"/>
                  </a:lnTo>
                  <a:lnTo>
                    <a:pt x="607999" y="394134"/>
                  </a:lnTo>
                  <a:lnTo>
                    <a:pt x="622393" y="379775"/>
                  </a:lnTo>
                  <a:lnTo>
                    <a:pt x="542366" y="299748"/>
                  </a:lnTo>
                  <a:lnTo>
                    <a:pt x="604003" y="238077"/>
                  </a:lnTo>
                  <a:lnTo>
                    <a:pt x="683962" y="318070"/>
                  </a:lnTo>
                  <a:lnTo>
                    <a:pt x="698322" y="303710"/>
                  </a:lnTo>
                  <a:lnTo>
                    <a:pt x="618396" y="223717"/>
                  </a:lnTo>
                  <a:lnTo>
                    <a:pt x="680068" y="162046"/>
                  </a:lnTo>
                  <a:lnTo>
                    <a:pt x="760095" y="242073"/>
                  </a:lnTo>
                  <a:lnTo>
                    <a:pt x="774454" y="227713"/>
                  </a:lnTo>
                  <a:lnTo>
                    <a:pt x="694427" y="147687"/>
                  </a:lnTo>
                  <a:lnTo>
                    <a:pt x="756098" y="86015"/>
                  </a:lnTo>
                  <a:lnTo>
                    <a:pt x="836125" y="166042"/>
                  </a:lnTo>
                  <a:lnTo>
                    <a:pt x="850485" y="151683"/>
                  </a:lnTo>
                  <a:lnTo>
                    <a:pt x="770458" y="71656"/>
                  </a:lnTo>
                  <a:lnTo>
                    <a:pt x="817871" y="24412"/>
                  </a:lnTo>
                  <a:lnTo>
                    <a:pt x="991336" y="197877"/>
                  </a:lnTo>
                  <a:lnTo>
                    <a:pt x="537692" y="651690"/>
                  </a:lnTo>
                  <a:lnTo>
                    <a:pt x="552052" y="666050"/>
                  </a:lnTo>
                  <a:lnTo>
                    <a:pt x="1012740" y="205057"/>
                  </a:lnTo>
                  <a:cubicBezTo>
                    <a:pt x="1016702" y="201090"/>
                    <a:pt x="1016702" y="194664"/>
                    <a:pt x="1012740" y="190697"/>
                  </a:cubicBezTo>
                  <a:close/>
                </a:path>
              </a:pathLst>
            </a:custGeom>
            <a:solidFill>
              <a:srgbClr val="000000"/>
            </a:solidFill>
            <a:ln w="3365" cap="flat">
              <a:noFill/>
              <a:prstDash val="solid"/>
              <a:miter/>
            </a:ln>
          </p:spPr>
          <p:txBody>
            <a:bodyPr rtlCol="0" anchor="ctr"/>
            <a:lstStyle/>
            <a:p>
              <a:endParaRPr lang="en-US"/>
            </a:p>
          </p:txBody>
        </p:sp>
      </p:grpSp>
      <p:grpSp>
        <p:nvGrpSpPr>
          <p:cNvPr id="56" name="ee4p_icon_group">
            <a:extLst>
              <a:ext uri="{FF2B5EF4-FFF2-40B4-BE49-F238E27FC236}">
                <a16:creationId xmlns:a16="http://schemas.microsoft.com/office/drawing/2014/main" id="{5980F19B-849F-AB36-C60B-3CDABB94C0C4}"/>
              </a:ext>
            </a:extLst>
          </p:cNvPr>
          <p:cNvGrpSpPr>
            <a:grpSpLocks noChangeAspect="1"/>
          </p:cNvGrpSpPr>
          <p:nvPr/>
        </p:nvGrpSpPr>
        <p:grpSpPr>
          <a:xfrm>
            <a:off x="3790466" y="5132336"/>
            <a:ext cx="406188" cy="406188"/>
            <a:chOff x="4032018" y="2889246"/>
            <a:chExt cx="1080000" cy="1080000"/>
          </a:xfrm>
        </p:grpSpPr>
        <p:grpSp>
          <p:nvGrpSpPr>
            <p:cNvPr id="63" name="ee4p_icon_frame">
              <a:extLst>
                <a:ext uri="{FF2B5EF4-FFF2-40B4-BE49-F238E27FC236}">
                  <a16:creationId xmlns:a16="http://schemas.microsoft.com/office/drawing/2014/main" id="{0B056D0C-91F9-4969-EBB9-F4A61D5DEFA4}"/>
                </a:ext>
              </a:extLst>
            </p:cNvPr>
            <p:cNvGrpSpPr>
              <a:grpSpLocks noChangeAspect="1"/>
            </p:cNvGrpSpPr>
            <p:nvPr/>
          </p:nvGrpSpPr>
          <p:grpSpPr>
            <a:xfrm>
              <a:off x="4032018" y="2889246"/>
              <a:ext cx="1080000" cy="1080000"/>
              <a:chOff x="4737100" y="1701800"/>
              <a:chExt cx="1098550" cy="1098550"/>
            </a:xfrm>
            <a:solidFill>
              <a:schemeClr val="accent3"/>
            </a:solidFill>
          </p:grpSpPr>
          <p:cxnSp>
            <p:nvCxnSpPr>
              <p:cNvPr id="65" name="ee4p_icon_frame_top">
                <a:extLst>
                  <a:ext uri="{FF2B5EF4-FFF2-40B4-BE49-F238E27FC236}">
                    <a16:creationId xmlns:a16="http://schemas.microsoft.com/office/drawing/2014/main" id="{94BAABE4-4E10-A05F-20E7-53B88D3542BC}"/>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66" name="ee4p_icon_frame_bottom">
                <a:extLst>
                  <a:ext uri="{FF2B5EF4-FFF2-40B4-BE49-F238E27FC236}">
                    <a16:creationId xmlns:a16="http://schemas.microsoft.com/office/drawing/2014/main" id="{28C70711-9916-5948-4DE9-DF74B2A91259}"/>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67" name="ee4p_icon_frame_left">
                <a:extLst>
                  <a:ext uri="{FF2B5EF4-FFF2-40B4-BE49-F238E27FC236}">
                    <a16:creationId xmlns:a16="http://schemas.microsoft.com/office/drawing/2014/main" id="{3F6E6FC3-6300-06BF-91D0-BCA0B250250E}"/>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68" name="ee4p_icon_frame_right">
                <a:extLst>
                  <a:ext uri="{FF2B5EF4-FFF2-40B4-BE49-F238E27FC236}">
                    <a16:creationId xmlns:a16="http://schemas.microsoft.com/office/drawing/2014/main" id="{922D1ACE-C66B-9198-375A-EFE838F18128}"/>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64" name="ee4p_icon">
              <a:extLst>
                <a:ext uri="{FF2B5EF4-FFF2-40B4-BE49-F238E27FC236}">
                  <a16:creationId xmlns:a16="http://schemas.microsoft.com/office/drawing/2014/main" id="{DFF3D97E-7F49-AA1F-0725-C32164FECB56}"/>
                </a:ext>
              </a:extLst>
            </p:cNvPr>
            <p:cNvSpPr>
              <a:spLocks noChangeAspect="1"/>
            </p:cNvSpPr>
            <p:nvPr/>
          </p:nvSpPr>
          <p:spPr>
            <a:xfrm>
              <a:off x="4064745" y="3153040"/>
              <a:ext cx="1014547" cy="552413"/>
            </a:xfrm>
            <a:custGeom>
              <a:avLst/>
              <a:gdLst>
                <a:gd name="connsiteX0" fmla="*/ 975394 w 1014547"/>
                <a:gd name="connsiteY0" fmla="*/ 472793 h 552413"/>
                <a:gd name="connsiteX1" fmla="*/ 895333 w 1014547"/>
                <a:gd name="connsiteY1" fmla="*/ 444108 h 552413"/>
                <a:gd name="connsiteX2" fmla="*/ 888560 w 1014547"/>
                <a:gd name="connsiteY2" fmla="*/ 463242 h 552413"/>
                <a:gd name="connsiteX3" fmla="*/ 968654 w 1014547"/>
                <a:gd name="connsiteY3" fmla="*/ 491894 h 552413"/>
                <a:gd name="connsiteX4" fmla="*/ 993580 w 1014547"/>
                <a:gd name="connsiteY4" fmla="*/ 516718 h 552413"/>
                <a:gd name="connsiteX5" fmla="*/ 992192 w 1014547"/>
                <a:gd name="connsiteY5" fmla="*/ 527217 h 552413"/>
                <a:gd name="connsiteX6" fmla="*/ 982811 w 1014547"/>
                <a:gd name="connsiteY6" fmla="*/ 532093 h 552413"/>
                <a:gd name="connsiteX7" fmla="*/ 43282 w 1014547"/>
                <a:gd name="connsiteY7" fmla="*/ 532093 h 552413"/>
                <a:gd name="connsiteX8" fmla="*/ 20354 w 1014547"/>
                <a:gd name="connsiteY8" fmla="*/ 509166 h 552413"/>
                <a:gd name="connsiteX9" fmla="*/ 20354 w 1014547"/>
                <a:gd name="connsiteY9" fmla="*/ 479803 h 552413"/>
                <a:gd name="connsiteX10" fmla="*/ 43045 w 1014547"/>
                <a:gd name="connsiteY10" fmla="*/ 456875 h 552413"/>
                <a:gd name="connsiteX11" fmla="*/ 63365 w 1014547"/>
                <a:gd name="connsiteY11" fmla="*/ 456672 h 552413"/>
                <a:gd name="connsiteX12" fmla="*/ 310828 w 1014547"/>
                <a:gd name="connsiteY12" fmla="*/ 456672 h 552413"/>
                <a:gd name="connsiteX13" fmla="*/ 310828 w 1014547"/>
                <a:gd name="connsiteY13" fmla="*/ 436352 h 552413"/>
                <a:gd name="connsiteX14" fmla="*/ 72779 w 1014547"/>
                <a:gd name="connsiteY14" fmla="*/ 436352 h 552413"/>
                <a:gd name="connsiteX15" fmla="*/ 72373 w 1014547"/>
                <a:gd name="connsiteY15" fmla="*/ 419080 h 552413"/>
                <a:gd name="connsiteX16" fmla="*/ 471675 w 1014547"/>
                <a:gd name="connsiteY16" fmla="*/ 19875 h 552413"/>
                <a:gd name="connsiteX17" fmla="*/ 744660 w 1014547"/>
                <a:gd name="connsiteY17" fmla="*/ 127827 h 552413"/>
                <a:gd name="connsiteX18" fmla="*/ 708829 w 1014547"/>
                <a:gd name="connsiteY18" fmla="*/ 163421 h 552413"/>
                <a:gd name="connsiteX19" fmla="*/ 481110 w 1014547"/>
                <a:gd name="connsiteY19" fmla="*/ 78009 h 552413"/>
                <a:gd name="connsiteX20" fmla="*/ 279434 w 1014547"/>
                <a:gd name="connsiteY20" fmla="*/ 142051 h 552413"/>
                <a:gd name="connsiteX21" fmla="*/ 291186 w 1014547"/>
                <a:gd name="connsiteY21" fmla="*/ 158612 h 552413"/>
                <a:gd name="connsiteX22" fmla="*/ 481110 w 1014547"/>
                <a:gd name="connsiteY22" fmla="*/ 98329 h 552413"/>
                <a:gd name="connsiteX23" fmla="*/ 835491 w 1014547"/>
                <a:gd name="connsiteY23" fmla="*/ 440857 h 552413"/>
                <a:gd name="connsiteX24" fmla="*/ 398238 w 1014547"/>
                <a:gd name="connsiteY24" fmla="*/ 440857 h 552413"/>
                <a:gd name="connsiteX25" fmla="*/ 398238 w 1014547"/>
                <a:gd name="connsiteY25" fmla="*/ 461177 h 552413"/>
                <a:gd name="connsiteX26" fmla="*/ 845922 w 1014547"/>
                <a:gd name="connsiteY26" fmla="*/ 461177 h 552413"/>
                <a:gd name="connsiteX27" fmla="*/ 856082 w 1014547"/>
                <a:gd name="connsiteY27" fmla="*/ 451017 h 552413"/>
                <a:gd name="connsiteX28" fmla="*/ 740935 w 1014547"/>
                <a:gd name="connsiteY28" fmla="*/ 192140 h 552413"/>
                <a:gd name="connsiteX29" fmla="*/ 724442 w 1014547"/>
                <a:gd name="connsiteY29" fmla="*/ 176629 h 552413"/>
                <a:gd name="connsiteX30" fmla="*/ 766437 w 1014547"/>
                <a:gd name="connsiteY30" fmla="*/ 134905 h 552413"/>
                <a:gd name="connsiteX31" fmla="*/ 769417 w 1014547"/>
                <a:gd name="connsiteY31" fmla="*/ 127691 h 552413"/>
                <a:gd name="connsiteX32" fmla="*/ 766403 w 1014547"/>
                <a:gd name="connsiteY32" fmla="*/ 120478 h 552413"/>
                <a:gd name="connsiteX33" fmla="*/ 172530 w 1014547"/>
                <a:gd name="connsiteY33" fmla="*/ 125544 h 552413"/>
                <a:gd name="connsiteX34" fmla="*/ 52053 w 1014547"/>
                <a:gd name="connsiteY34" fmla="*/ 419080 h 552413"/>
                <a:gd name="connsiteX35" fmla="*/ 52392 w 1014547"/>
                <a:gd name="connsiteY35" fmla="*/ 436454 h 552413"/>
                <a:gd name="connsiteX36" fmla="*/ 42807 w 1014547"/>
                <a:gd name="connsiteY36" fmla="*/ 436454 h 552413"/>
                <a:gd name="connsiteX37" fmla="*/ 0 w 1014547"/>
                <a:gd name="connsiteY37" fmla="*/ 479803 h 552413"/>
                <a:gd name="connsiteX38" fmla="*/ 0 w 1014547"/>
                <a:gd name="connsiteY38" fmla="*/ 509166 h 552413"/>
                <a:gd name="connsiteX39" fmla="*/ 43282 w 1014547"/>
                <a:gd name="connsiteY39" fmla="*/ 552413 h 552413"/>
                <a:gd name="connsiteX40" fmla="*/ 982743 w 1014547"/>
                <a:gd name="connsiteY40" fmla="*/ 552413 h 552413"/>
                <a:gd name="connsiteX41" fmla="*/ 1014547 w 1014547"/>
                <a:gd name="connsiteY41" fmla="*/ 520684 h 552413"/>
                <a:gd name="connsiteX42" fmla="*/ 1012579 w 1014547"/>
                <a:gd name="connsiteY42" fmla="*/ 509640 h 552413"/>
                <a:gd name="connsiteX43" fmla="*/ 975394 w 1014547"/>
                <a:gd name="connsiteY43" fmla="*/ 472793 h 55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14547" h="552413">
                  <a:moveTo>
                    <a:pt x="975394" y="472793"/>
                  </a:moveTo>
                  <a:lnTo>
                    <a:pt x="895333" y="444108"/>
                  </a:lnTo>
                  <a:lnTo>
                    <a:pt x="888560" y="463242"/>
                  </a:lnTo>
                  <a:lnTo>
                    <a:pt x="968654" y="491894"/>
                  </a:lnTo>
                  <a:cubicBezTo>
                    <a:pt x="980250" y="496035"/>
                    <a:pt x="989391" y="505139"/>
                    <a:pt x="993580" y="516718"/>
                  </a:cubicBezTo>
                  <a:cubicBezTo>
                    <a:pt x="994874" y="520233"/>
                    <a:pt x="994352" y="524158"/>
                    <a:pt x="992192" y="527217"/>
                  </a:cubicBezTo>
                  <a:cubicBezTo>
                    <a:pt x="990068" y="530298"/>
                    <a:pt x="986553" y="532124"/>
                    <a:pt x="982811" y="532093"/>
                  </a:cubicBezTo>
                  <a:lnTo>
                    <a:pt x="43282" y="532093"/>
                  </a:lnTo>
                  <a:cubicBezTo>
                    <a:pt x="30627" y="532073"/>
                    <a:pt x="20373" y="521822"/>
                    <a:pt x="20354" y="509166"/>
                  </a:cubicBezTo>
                  <a:lnTo>
                    <a:pt x="20354" y="479803"/>
                  </a:lnTo>
                  <a:cubicBezTo>
                    <a:pt x="20390" y="467249"/>
                    <a:pt x="30490" y="457041"/>
                    <a:pt x="43045" y="456875"/>
                  </a:cubicBezTo>
                  <a:lnTo>
                    <a:pt x="63365" y="456672"/>
                  </a:lnTo>
                  <a:lnTo>
                    <a:pt x="310828" y="456672"/>
                  </a:lnTo>
                  <a:lnTo>
                    <a:pt x="310828" y="436352"/>
                  </a:lnTo>
                  <a:lnTo>
                    <a:pt x="72779" y="436352"/>
                  </a:lnTo>
                  <a:cubicBezTo>
                    <a:pt x="72542" y="430595"/>
                    <a:pt x="72373" y="424838"/>
                    <a:pt x="72373" y="419080"/>
                  </a:cubicBezTo>
                  <a:cubicBezTo>
                    <a:pt x="72400" y="198578"/>
                    <a:pt x="251174" y="19848"/>
                    <a:pt x="471675" y="19875"/>
                  </a:cubicBezTo>
                  <a:cubicBezTo>
                    <a:pt x="573078" y="19887"/>
                    <a:pt x="670675" y="58483"/>
                    <a:pt x="744660" y="127827"/>
                  </a:cubicBezTo>
                  <a:lnTo>
                    <a:pt x="708829" y="163421"/>
                  </a:lnTo>
                  <a:cubicBezTo>
                    <a:pt x="641096" y="108760"/>
                    <a:pt x="560222" y="78009"/>
                    <a:pt x="481110" y="78009"/>
                  </a:cubicBezTo>
                  <a:cubicBezTo>
                    <a:pt x="408859" y="77845"/>
                    <a:pt x="338355" y="100233"/>
                    <a:pt x="279434" y="142051"/>
                  </a:cubicBezTo>
                  <a:lnTo>
                    <a:pt x="291186" y="158612"/>
                  </a:lnTo>
                  <a:cubicBezTo>
                    <a:pt x="346680" y="119248"/>
                    <a:pt x="413072" y="98177"/>
                    <a:pt x="481110" y="98329"/>
                  </a:cubicBezTo>
                  <a:cubicBezTo>
                    <a:pt x="659960" y="98329"/>
                    <a:pt x="829225" y="263361"/>
                    <a:pt x="835491" y="440857"/>
                  </a:cubicBezTo>
                  <a:lnTo>
                    <a:pt x="398238" y="440857"/>
                  </a:lnTo>
                  <a:lnTo>
                    <a:pt x="398238" y="461177"/>
                  </a:lnTo>
                  <a:lnTo>
                    <a:pt x="845922" y="461177"/>
                  </a:lnTo>
                  <a:cubicBezTo>
                    <a:pt x="851533" y="461177"/>
                    <a:pt x="856082" y="456628"/>
                    <a:pt x="856082" y="451017"/>
                  </a:cubicBezTo>
                  <a:cubicBezTo>
                    <a:pt x="856082" y="359170"/>
                    <a:pt x="814121" y="264750"/>
                    <a:pt x="740935" y="192140"/>
                  </a:cubicBezTo>
                  <a:cubicBezTo>
                    <a:pt x="735550" y="186789"/>
                    <a:pt x="730064" y="181641"/>
                    <a:pt x="724442" y="176629"/>
                  </a:cubicBezTo>
                  <a:lnTo>
                    <a:pt x="766437" y="134905"/>
                  </a:lnTo>
                  <a:cubicBezTo>
                    <a:pt x="768350" y="132992"/>
                    <a:pt x="769424" y="130397"/>
                    <a:pt x="769417" y="127691"/>
                  </a:cubicBezTo>
                  <a:cubicBezTo>
                    <a:pt x="769413" y="124982"/>
                    <a:pt x="768330" y="122385"/>
                    <a:pt x="766403" y="120478"/>
                  </a:cubicBezTo>
                  <a:cubicBezTo>
                    <a:pt x="601011" y="-42117"/>
                    <a:pt x="335125" y="-39849"/>
                    <a:pt x="172530" y="125544"/>
                  </a:cubicBezTo>
                  <a:cubicBezTo>
                    <a:pt x="95529" y="203868"/>
                    <a:pt x="52280" y="309244"/>
                    <a:pt x="52053" y="419080"/>
                  </a:cubicBezTo>
                  <a:cubicBezTo>
                    <a:pt x="52053" y="424871"/>
                    <a:pt x="52053" y="430697"/>
                    <a:pt x="52392" y="436454"/>
                  </a:cubicBezTo>
                  <a:lnTo>
                    <a:pt x="42807" y="436454"/>
                  </a:lnTo>
                  <a:cubicBezTo>
                    <a:pt x="19086" y="436769"/>
                    <a:pt x="16" y="456080"/>
                    <a:pt x="0" y="479803"/>
                  </a:cubicBezTo>
                  <a:lnTo>
                    <a:pt x="0" y="509166"/>
                  </a:lnTo>
                  <a:cubicBezTo>
                    <a:pt x="19" y="533055"/>
                    <a:pt x="19391" y="552413"/>
                    <a:pt x="43282" y="552413"/>
                  </a:cubicBezTo>
                  <a:lnTo>
                    <a:pt x="982743" y="552413"/>
                  </a:lnTo>
                  <a:cubicBezTo>
                    <a:pt x="1000286" y="552434"/>
                    <a:pt x="1014527" y="538227"/>
                    <a:pt x="1014547" y="520684"/>
                  </a:cubicBezTo>
                  <a:cubicBezTo>
                    <a:pt x="1014551" y="516914"/>
                    <a:pt x="1013887" y="513175"/>
                    <a:pt x="1012579" y="509640"/>
                  </a:cubicBezTo>
                  <a:cubicBezTo>
                    <a:pt x="1006294" y="492429"/>
                    <a:pt x="992663" y="478919"/>
                    <a:pt x="975394" y="472793"/>
                  </a:cubicBezTo>
                  <a:close/>
                </a:path>
              </a:pathLst>
            </a:custGeom>
            <a:solidFill>
              <a:srgbClr val="000000"/>
            </a:solidFill>
            <a:ln w="3365" cap="flat">
              <a:noFill/>
              <a:prstDash val="solid"/>
              <a:miter/>
            </a:ln>
          </p:spPr>
          <p:txBody>
            <a:bodyPr rtlCol="0" anchor="ctr"/>
            <a:lstStyle/>
            <a:p>
              <a:endParaRPr lang="en-US"/>
            </a:p>
          </p:txBody>
        </p:sp>
      </p:grpSp>
      <p:grpSp>
        <p:nvGrpSpPr>
          <p:cNvPr id="71" name="ee4p_icon_group">
            <a:extLst>
              <a:ext uri="{FF2B5EF4-FFF2-40B4-BE49-F238E27FC236}">
                <a16:creationId xmlns:a16="http://schemas.microsoft.com/office/drawing/2014/main" id="{6660780D-B1DE-0205-5A28-62774F8BCC8E}"/>
              </a:ext>
            </a:extLst>
          </p:cNvPr>
          <p:cNvGrpSpPr>
            <a:grpSpLocks noChangeAspect="1"/>
          </p:cNvGrpSpPr>
          <p:nvPr/>
        </p:nvGrpSpPr>
        <p:grpSpPr>
          <a:xfrm>
            <a:off x="4232049" y="5175404"/>
            <a:ext cx="320052" cy="320052"/>
            <a:chOff x="4022780" y="2889616"/>
            <a:chExt cx="1080000" cy="1080000"/>
          </a:xfrm>
        </p:grpSpPr>
        <p:grpSp>
          <p:nvGrpSpPr>
            <p:cNvPr id="72" name="ee4p_icon_frame">
              <a:extLst>
                <a:ext uri="{FF2B5EF4-FFF2-40B4-BE49-F238E27FC236}">
                  <a16:creationId xmlns:a16="http://schemas.microsoft.com/office/drawing/2014/main" id="{2AE7D46C-ED50-7238-7368-FDC34A3CFE11}"/>
                </a:ext>
              </a:extLst>
            </p:cNvPr>
            <p:cNvGrpSpPr>
              <a:grpSpLocks noChangeAspect="1"/>
            </p:cNvGrpSpPr>
            <p:nvPr/>
          </p:nvGrpSpPr>
          <p:grpSpPr>
            <a:xfrm>
              <a:off x="4022780" y="2889616"/>
              <a:ext cx="1080000" cy="1080000"/>
              <a:chOff x="4737100" y="1701800"/>
              <a:chExt cx="1098550" cy="1098550"/>
            </a:xfrm>
            <a:solidFill>
              <a:schemeClr val="accent3"/>
            </a:solidFill>
          </p:grpSpPr>
          <p:cxnSp>
            <p:nvCxnSpPr>
              <p:cNvPr id="75" name="ee4p_icon_frame_top">
                <a:extLst>
                  <a:ext uri="{FF2B5EF4-FFF2-40B4-BE49-F238E27FC236}">
                    <a16:creationId xmlns:a16="http://schemas.microsoft.com/office/drawing/2014/main" id="{51C3A238-0DD3-352E-F91E-C3FA719F79FA}"/>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76" name="ee4p_icon_frame_bottom">
                <a:extLst>
                  <a:ext uri="{FF2B5EF4-FFF2-40B4-BE49-F238E27FC236}">
                    <a16:creationId xmlns:a16="http://schemas.microsoft.com/office/drawing/2014/main" id="{3F3D3D97-6D1D-38C6-429D-928212FDE095}"/>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77" name="ee4p_icon_frame_left">
                <a:extLst>
                  <a:ext uri="{FF2B5EF4-FFF2-40B4-BE49-F238E27FC236}">
                    <a16:creationId xmlns:a16="http://schemas.microsoft.com/office/drawing/2014/main" id="{46930241-17CD-2165-1F2F-A43E3A337117}"/>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78" name="ee4p_icon_frame_right">
                <a:extLst>
                  <a:ext uri="{FF2B5EF4-FFF2-40B4-BE49-F238E27FC236}">
                    <a16:creationId xmlns:a16="http://schemas.microsoft.com/office/drawing/2014/main" id="{BFC0A469-38E1-E330-75CB-E553A200BB4F}"/>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74" name="ee4p_icon">
              <a:extLst>
                <a:ext uri="{FF2B5EF4-FFF2-40B4-BE49-F238E27FC236}">
                  <a16:creationId xmlns:a16="http://schemas.microsoft.com/office/drawing/2014/main" id="{128A5D4F-0136-4575-B360-86EB0FE2E2B8}"/>
                </a:ext>
              </a:extLst>
            </p:cNvPr>
            <p:cNvSpPr>
              <a:spLocks noChangeAspect="1"/>
            </p:cNvSpPr>
            <p:nvPr/>
          </p:nvSpPr>
          <p:spPr>
            <a:xfrm>
              <a:off x="4089128" y="2921860"/>
              <a:ext cx="947304" cy="1015512"/>
            </a:xfrm>
            <a:custGeom>
              <a:avLst/>
              <a:gdLst>
                <a:gd name="connsiteX0" fmla="*/ 341579 w 947304"/>
                <a:gd name="connsiteY0" fmla="*/ 793719 h 1015512"/>
                <a:gd name="connsiteX1" fmla="*/ 221823 w 947304"/>
                <a:gd name="connsiteY1" fmla="*/ 673767 h 1015512"/>
                <a:gd name="connsiteX2" fmla="*/ 256913 w 947304"/>
                <a:gd name="connsiteY2" fmla="*/ 589131 h 1015512"/>
                <a:gd name="connsiteX3" fmla="*/ 679670 w 947304"/>
                <a:gd name="connsiteY3" fmla="*/ 166305 h 1015512"/>
                <a:gd name="connsiteX4" fmla="*/ 694030 w 947304"/>
                <a:gd name="connsiteY4" fmla="*/ 180665 h 1015512"/>
                <a:gd name="connsiteX5" fmla="*/ 271204 w 947304"/>
                <a:gd name="connsiteY5" fmla="*/ 603524 h 1015512"/>
                <a:gd name="connsiteX6" fmla="*/ 274141 w 947304"/>
                <a:gd name="connsiteY6" fmla="*/ 744257 h 1015512"/>
                <a:gd name="connsiteX7" fmla="*/ 411988 w 947304"/>
                <a:gd name="connsiteY7" fmla="*/ 744206 h 1015512"/>
                <a:gd name="connsiteX8" fmla="*/ 725255 w 947304"/>
                <a:gd name="connsiteY8" fmla="*/ 430906 h 1015512"/>
                <a:gd name="connsiteX9" fmla="*/ 739648 w 947304"/>
                <a:gd name="connsiteY9" fmla="*/ 445299 h 1015512"/>
                <a:gd name="connsiteX10" fmla="*/ 426348 w 947304"/>
                <a:gd name="connsiteY10" fmla="*/ 758566 h 1015512"/>
                <a:gd name="connsiteX11" fmla="*/ 341579 w 947304"/>
                <a:gd name="connsiteY11" fmla="*/ 793719 h 1015512"/>
                <a:gd name="connsiteX12" fmla="*/ 369316 w 947304"/>
                <a:gd name="connsiteY12" fmla="*/ 952147 h 1015512"/>
                <a:gd name="connsiteX13" fmla="*/ 430276 w 947304"/>
                <a:gd name="connsiteY13" fmla="*/ 891187 h 1015512"/>
                <a:gd name="connsiteX14" fmla="*/ 415917 w 947304"/>
                <a:gd name="connsiteY14" fmla="*/ 876828 h 1015512"/>
                <a:gd name="connsiteX15" fmla="*/ 354957 w 947304"/>
                <a:gd name="connsiteY15" fmla="*/ 937788 h 1015512"/>
                <a:gd name="connsiteX16" fmla="*/ 77724 w 947304"/>
                <a:gd name="connsiteY16" fmla="*/ 937788 h 1015512"/>
                <a:gd name="connsiteX17" fmla="*/ 77724 w 947304"/>
                <a:gd name="connsiteY17" fmla="*/ 660556 h 1015512"/>
                <a:gd name="connsiteX18" fmla="*/ 675471 w 947304"/>
                <a:gd name="connsiteY18" fmla="*/ 62809 h 1015512"/>
                <a:gd name="connsiteX19" fmla="*/ 884479 w 947304"/>
                <a:gd name="connsiteY19" fmla="*/ 61480 h 1015512"/>
                <a:gd name="connsiteX20" fmla="*/ 885806 w 947304"/>
                <a:gd name="connsiteY20" fmla="*/ 270488 h 1015512"/>
                <a:gd name="connsiteX21" fmla="*/ 884462 w 947304"/>
                <a:gd name="connsiteY21" fmla="*/ 271834 h 1015512"/>
                <a:gd name="connsiteX22" fmla="*/ 772262 w 947304"/>
                <a:gd name="connsiteY22" fmla="*/ 384034 h 1015512"/>
                <a:gd name="connsiteX23" fmla="*/ 786621 w 947304"/>
                <a:gd name="connsiteY23" fmla="*/ 398394 h 1015512"/>
                <a:gd name="connsiteX24" fmla="*/ 898855 w 947304"/>
                <a:gd name="connsiteY24" fmla="*/ 286193 h 1015512"/>
                <a:gd name="connsiteX25" fmla="*/ 897270 w 947304"/>
                <a:gd name="connsiteY25" fmla="*/ 48449 h 1015512"/>
                <a:gd name="connsiteX26" fmla="*/ 661111 w 947304"/>
                <a:gd name="connsiteY26" fmla="*/ 48449 h 1015512"/>
                <a:gd name="connsiteX27" fmla="*/ 63365 w 947304"/>
                <a:gd name="connsiteY27" fmla="*/ 646196 h 1015512"/>
                <a:gd name="connsiteX28" fmla="*/ 63365 w 947304"/>
                <a:gd name="connsiteY28" fmla="*/ 952147 h 1015512"/>
                <a:gd name="connsiteX29" fmla="*/ 369316 w 947304"/>
                <a:gd name="connsiteY29" fmla="*/ 952147 h 1015512"/>
                <a:gd name="connsiteX30" fmla="*/ 931096 w 947304"/>
                <a:gd name="connsiteY30" fmla="*/ 390367 h 1015512"/>
                <a:gd name="connsiteX31" fmla="*/ 916737 w 947304"/>
                <a:gd name="connsiteY31" fmla="*/ 376008 h 1015512"/>
                <a:gd name="connsiteX32" fmla="*/ 478435 w 947304"/>
                <a:gd name="connsiteY32" fmla="*/ 814310 h 1015512"/>
                <a:gd name="connsiteX33" fmla="*/ 492794 w 947304"/>
                <a:gd name="connsiteY33" fmla="*/ 828670 h 101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47304" h="1015512">
                  <a:moveTo>
                    <a:pt x="341579" y="793719"/>
                  </a:moveTo>
                  <a:cubicBezTo>
                    <a:pt x="275386" y="793665"/>
                    <a:pt x="221769" y="739959"/>
                    <a:pt x="221823" y="673767"/>
                  </a:cubicBezTo>
                  <a:cubicBezTo>
                    <a:pt x="221849" y="642020"/>
                    <a:pt x="234469" y="611581"/>
                    <a:pt x="256913" y="589131"/>
                  </a:cubicBezTo>
                  <a:lnTo>
                    <a:pt x="679670" y="166305"/>
                  </a:lnTo>
                  <a:lnTo>
                    <a:pt x="694030" y="180665"/>
                  </a:lnTo>
                  <a:lnTo>
                    <a:pt x="271204" y="603524"/>
                  </a:lnTo>
                  <a:cubicBezTo>
                    <a:pt x="233153" y="643195"/>
                    <a:pt x="234468" y="706204"/>
                    <a:pt x="274141" y="744257"/>
                  </a:cubicBezTo>
                  <a:cubicBezTo>
                    <a:pt x="312668" y="781209"/>
                    <a:pt x="373488" y="781185"/>
                    <a:pt x="411988" y="744206"/>
                  </a:cubicBezTo>
                  <a:lnTo>
                    <a:pt x="725255" y="430906"/>
                  </a:lnTo>
                  <a:lnTo>
                    <a:pt x="739648" y="445299"/>
                  </a:lnTo>
                  <a:lnTo>
                    <a:pt x="426348" y="758566"/>
                  </a:lnTo>
                  <a:cubicBezTo>
                    <a:pt x="403897" y="781101"/>
                    <a:pt x="373387" y="793753"/>
                    <a:pt x="341579" y="793719"/>
                  </a:cubicBezTo>
                  <a:close/>
                  <a:moveTo>
                    <a:pt x="369316" y="952147"/>
                  </a:moveTo>
                  <a:lnTo>
                    <a:pt x="430276" y="891187"/>
                  </a:lnTo>
                  <a:lnTo>
                    <a:pt x="415917" y="876828"/>
                  </a:lnTo>
                  <a:lnTo>
                    <a:pt x="354957" y="937788"/>
                  </a:lnTo>
                  <a:cubicBezTo>
                    <a:pt x="278401" y="1014344"/>
                    <a:pt x="154280" y="1014344"/>
                    <a:pt x="77724" y="937788"/>
                  </a:cubicBezTo>
                  <a:cubicBezTo>
                    <a:pt x="1168" y="861232"/>
                    <a:pt x="1168" y="737111"/>
                    <a:pt x="77724" y="660556"/>
                  </a:cubicBezTo>
                  <a:lnTo>
                    <a:pt x="675471" y="62809"/>
                  </a:lnTo>
                  <a:cubicBezTo>
                    <a:pt x="732821" y="4726"/>
                    <a:pt x="826398" y="4131"/>
                    <a:pt x="884479" y="61480"/>
                  </a:cubicBezTo>
                  <a:cubicBezTo>
                    <a:pt x="942564" y="118829"/>
                    <a:pt x="943156" y="212405"/>
                    <a:pt x="885806" y="270488"/>
                  </a:cubicBezTo>
                  <a:cubicBezTo>
                    <a:pt x="885363" y="270939"/>
                    <a:pt x="884912" y="271388"/>
                    <a:pt x="884462" y="271834"/>
                  </a:cubicBezTo>
                  <a:lnTo>
                    <a:pt x="772262" y="384034"/>
                  </a:lnTo>
                  <a:lnTo>
                    <a:pt x="786621" y="398394"/>
                  </a:lnTo>
                  <a:lnTo>
                    <a:pt x="898855" y="286193"/>
                  </a:lnTo>
                  <a:cubicBezTo>
                    <a:pt x="964069" y="220104"/>
                    <a:pt x="963358" y="113663"/>
                    <a:pt x="897270" y="48449"/>
                  </a:cubicBezTo>
                  <a:cubicBezTo>
                    <a:pt x="831803" y="-16150"/>
                    <a:pt x="726579" y="-16150"/>
                    <a:pt x="661111" y="48449"/>
                  </a:cubicBezTo>
                  <a:lnTo>
                    <a:pt x="63365" y="646196"/>
                  </a:lnTo>
                  <a:cubicBezTo>
                    <a:pt x="-21122" y="730683"/>
                    <a:pt x="-21122" y="867660"/>
                    <a:pt x="63365" y="952147"/>
                  </a:cubicBezTo>
                  <a:cubicBezTo>
                    <a:pt x="147851" y="1036635"/>
                    <a:pt x="284830" y="1036635"/>
                    <a:pt x="369316" y="952147"/>
                  </a:cubicBezTo>
                  <a:close/>
                  <a:moveTo>
                    <a:pt x="931096" y="390367"/>
                  </a:moveTo>
                  <a:lnTo>
                    <a:pt x="916737" y="376008"/>
                  </a:lnTo>
                  <a:lnTo>
                    <a:pt x="478435" y="814310"/>
                  </a:lnTo>
                  <a:lnTo>
                    <a:pt x="492794" y="828670"/>
                  </a:lnTo>
                  <a:close/>
                </a:path>
              </a:pathLst>
            </a:custGeom>
            <a:solidFill>
              <a:srgbClr val="000000"/>
            </a:solidFill>
            <a:ln w="3365" cap="flat">
              <a:noFill/>
              <a:prstDash val="solid"/>
              <a:miter/>
            </a:ln>
          </p:spPr>
          <p:txBody>
            <a:bodyPr rtlCol="0" anchor="ctr"/>
            <a:lstStyle/>
            <a:p>
              <a:endParaRPr lang="en-US"/>
            </a:p>
          </p:txBody>
        </p:sp>
      </p:grpSp>
      <p:grpSp>
        <p:nvGrpSpPr>
          <p:cNvPr id="80" name="ee4p_icon_group">
            <a:extLst>
              <a:ext uri="{FF2B5EF4-FFF2-40B4-BE49-F238E27FC236}">
                <a16:creationId xmlns:a16="http://schemas.microsoft.com/office/drawing/2014/main" id="{1610ADC2-D423-26B4-3EA4-3EAD90E730B6}"/>
              </a:ext>
            </a:extLst>
          </p:cNvPr>
          <p:cNvGrpSpPr>
            <a:grpSpLocks noChangeAspect="1"/>
          </p:cNvGrpSpPr>
          <p:nvPr/>
        </p:nvGrpSpPr>
        <p:grpSpPr>
          <a:xfrm>
            <a:off x="5173448" y="2585450"/>
            <a:ext cx="467532" cy="475562"/>
            <a:chOff x="4021872" y="2917784"/>
            <a:chExt cx="1080000" cy="1098550"/>
          </a:xfrm>
        </p:grpSpPr>
        <p:grpSp>
          <p:nvGrpSpPr>
            <p:cNvPr id="81" name="ee4p_icon_frame">
              <a:extLst>
                <a:ext uri="{FF2B5EF4-FFF2-40B4-BE49-F238E27FC236}">
                  <a16:creationId xmlns:a16="http://schemas.microsoft.com/office/drawing/2014/main" id="{2BE3C118-4FF3-B6E2-11B3-1C7E2674F158}"/>
                </a:ext>
              </a:extLst>
            </p:cNvPr>
            <p:cNvGrpSpPr>
              <a:grpSpLocks noChangeAspect="1"/>
            </p:cNvGrpSpPr>
            <p:nvPr/>
          </p:nvGrpSpPr>
          <p:grpSpPr>
            <a:xfrm>
              <a:off x="4021872" y="2917784"/>
              <a:ext cx="1080000" cy="1098550"/>
              <a:chOff x="4737100" y="1701800"/>
              <a:chExt cx="1098550" cy="1098550"/>
            </a:xfrm>
            <a:solidFill>
              <a:schemeClr val="accent3"/>
            </a:solidFill>
          </p:grpSpPr>
          <p:cxnSp>
            <p:nvCxnSpPr>
              <p:cNvPr id="83" name="ee4p_icon_frame_top">
                <a:extLst>
                  <a:ext uri="{FF2B5EF4-FFF2-40B4-BE49-F238E27FC236}">
                    <a16:creationId xmlns:a16="http://schemas.microsoft.com/office/drawing/2014/main" id="{1758A35A-3C25-8EB7-0F09-6CA235F2582F}"/>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84" name="ee4p_icon_frame_bottom">
                <a:extLst>
                  <a:ext uri="{FF2B5EF4-FFF2-40B4-BE49-F238E27FC236}">
                    <a16:creationId xmlns:a16="http://schemas.microsoft.com/office/drawing/2014/main" id="{0308CA69-1685-A615-A0BD-ADE4AAB8DC1A}"/>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85" name="ee4p_icon_frame_left">
                <a:extLst>
                  <a:ext uri="{FF2B5EF4-FFF2-40B4-BE49-F238E27FC236}">
                    <a16:creationId xmlns:a16="http://schemas.microsoft.com/office/drawing/2014/main" id="{EFF89FDC-DE1B-68E3-2FA7-58029C92BAB6}"/>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86" name="ee4p_icon_frame_right">
                <a:extLst>
                  <a:ext uri="{FF2B5EF4-FFF2-40B4-BE49-F238E27FC236}">
                    <a16:creationId xmlns:a16="http://schemas.microsoft.com/office/drawing/2014/main" id="{FB2A0854-9113-205D-BAB0-13FD0EACA809}"/>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82" name="ee4p_icon">
              <a:extLst>
                <a:ext uri="{FF2B5EF4-FFF2-40B4-BE49-F238E27FC236}">
                  <a16:creationId xmlns:a16="http://schemas.microsoft.com/office/drawing/2014/main" id="{C6E339F6-373C-345E-5324-0A2D1FD9F957}"/>
                </a:ext>
              </a:extLst>
            </p:cNvPr>
            <p:cNvSpPr>
              <a:spLocks noChangeAspect="1"/>
            </p:cNvSpPr>
            <p:nvPr/>
          </p:nvSpPr>
          <p:spPr>
            <a:xfrm>
              <a:off x="4069380" y="2921196"/>
              <a:ext cx="984983" cy="1015704"/>
            </a:xfrm>
            <a:custGeom>
              <a:avLst/>
              <a:gdLst>
                <a:gd name="connsiteX0" fmla="*/ 984983 w 984983"/>
                <a:gd name="connsiteY0" fmla="*/ 863132 h 1015704"/>
                <a:gd name="connsiteX1" fmla="*/ 963748 w 984983"/>
                <a:gd name="connsiteY1" fmla="*/ 811892 h 1015704"/>
                <a:gd name="connsiteX2" fmla="*/ 692036 w 984983"/>
                <a:gd name="connsiteY2" fmla="*/ 540180 h 1015704"/>
                <a:gd name="connsiteX3" fmla="*/ 640796 w 984983"/>
                <a:gd name="connsiteY3" fmla="*/ 518945 h 1015704"/>
                <a:gd name="connsiteX4" fmla="*/ 635242 w 984983"/>
                <a:gd name="connsiteY4" fmla="*/ 519216 h 1015704"/>
                <a:gd name="connsiteX5" fmla="*/ 635242 w 984983"/>
                <a:gd name="connsiteY5" fmla="*/ 518979 h 1015704"/>
                <a:gd name="connsiteX6" fmla="*/ 632261 w 984983"/>
                <a:gd name="connsiteY6" fmla="*/ 511766 h 1015704"/>
                <a:gd name="connsiteX7" fmla="*/ 582071 w 984983"/>
                <a:gd name="connsiteY7" fmla="*/ 461609 h 1015704"/>
                <a:gd name="connsiteX8" fmla="*/ 567712 w 984983"/>
                <a:gd name="connsiteY8" fmla="*/ 461609 h 1015704"/>
                <a:gd name="connsiteX9" fmla="*/ 536859 w 984983"/>
                <a:gd name="connsiteY9" fmla="*/ 492496 h 1015704"/>
                <a:gd name="connsiteX10" fmla="*/ 461980 w 984983"/>
                <a:gd name="connsiteY10" fmla="*/ 417481 h 1015704"/>
                <a:gd name="connsiteX11" fmla="*/ 570014 w 984983"/>
                <a:gd name="connsiteY11" fmla="*/ 309446 h 1015704"/>
                <a:gd name="connsiteX12" fmla="*/ 572284 w 984983"/>
                <a:gd name="connsiteY12" fmla="*/ 298507 h 1015704"/>
                <a:gd name="connsiteX13" fmla="*/ 686302 w 984983"/>
                <a:gd name="connsiteY13" fmla="*/ 34726 h 1015704"/>
                <a:gd name="connsiteX14" fmla="*/ 829670 w 984983"/>
                <a:gd name="connsiteY14" fmla="*/ 32315 h 1015704"/>
                <a:gd name="connsiteX15" fmla="*/ 687024 w 984983"/>
                <a:gd name="connsiteY15" fmla="*/ 175910 h 1015704"/>
                <a:gd name="connsiteX16" fmla="*/ 684484 w 984983"/>
                <a:gd name="connsiteY16" fmla="*/ 186070 h 1015704"/>
                <a:gd name="connsiteX17" fmla="*/ 708902 w 984983"/>
                <a:gd name="connsiteY17" fmla="*/ 270737 h 1015704"/>
                <a:gd name="connsiteX18" fmla="*/ 716217 w 984983"/>
                <a:gd name="connsiteY18" fmla="*/ 277815 h 1015704"/>
                <a:gd name="connsiteX19" fmla="*/ 801967 w 984983"/>
                <a:gd name="connsiteY19" fmla="*/ 299083 h 1015704"/>
                <a:gd name="connsiteX20" fmla="*/ 811619 w 984983"/>
                <a:gd name="connsiteY20" fmla="*/ 296374 h 1015704"/>
                <a:gd name="connsiteX21" fmla="*/ 952132 w 984983"/>
                <a:gd name="connsiteY21" fmla="*/ 154879 h 1015704"/>
                <a:gd name="connsiteX22" fmla="*/ 829352 w 984983"/>
                <a:gd name="connsiteY22" fmla="*/ 414697 h 1015704"/>
                <a:gd name="connsiteX23" fmla="*/ 685872 w 984983"/>
                <a:gd name="connsiteY23" fmla="*/ 412265 h 1015704"/>
                <a:gd name="connsiteX24" fmla="*/ 674933 w 984983"/>
                <a:gd name="connsiteY24" fmla="*/ 414534 h 1015704"/>
                <a:gd name="connsiteX25" fmla="*/ 648856 w 984983"/>
                <a:gd name="connsiteY25" fmla="*/ 440612 h 1015704"/>
                <a:gd name="connsiteX26" fmla="*/ 663216 w 984983"/>
                <a:gd name="connsiteY26" fmla="*/ 455005 h 1015704"/>
                <a:gd name="connsiteX27" fmla="*/ 684653 w 984983"/>
                <a:gd name="connsiteY27" fmla="*/ 433534 h 1015704"/>
                <a:gd name="connsiteX28" fmla="*/ 970945 w 984983"/>
                <a:gd name="connsiteY28" fmla="*/ 299518 h 1015704"/>
                <a:gd name="connsiteX29" fmla="*/ 965103 w 984983"/>
                <a:gd name="connsiteY29" fmla="*/ 132730 h 1015704"/>
                <a:gd name="connsiteX30" fmla="*/ 957652 w 984983"/>
                <a:gd name="connsiteY30" fmla="*/ 126871 h 1015704"/>
                <a:gd name="connsiteX31" fmla="*/ 948610 w 984983"/>
                <a:gd name="connsiteY31" fmla="*/ 129682 h 1015704"/>
                <a:gd name="connsiteX32" fmla="*/ 801256 w 984983"/>
                <a:gd name="connsiteY32" fmla="*/ 278052 h 1015704"/>
                <a:gd name="connsiteX33" fmla="*/ 726749 w 984983"/>
                <a:gd name="connsiteY33" fmla="*/ 259561 h 1015704"/>
                <a:gd name="connsiteX34" fmla="*/ 705820 w 984983"/>
                <a:gd name="connsiteY34" fmla="*/ 186070 h 1015704"/>
                <a:gd name="connsiteX35" fmla="*/ 854833 w 984983"/>
                <a:gd name="connsiteY35" fmla="*/ 35770 h 1015704"/>
                <a:gd name="connsiteX36" fmla="*/ 854806 w 984983"/>
                <a:gd name="connsiteY36" fmla="*/ 21401 h 1015704"/>
                <a:gd name="connsiteX37" fmla="*/ 851751 w 984983"/>
                <a:gd name="connsiteY37" fmla="*/ 19310 h 1015704"/>
                <a:gd name="connsiteX38" fmla="*/ 556729 w 984983"/>
                <a:gd name="connsiteY38" fmla="*/ 132819 h 1015704"/>
                <a:gd name="connsiteX39" fmla="*/ 550846 w 984983"/>
                <a:gd name="connsiteY39" fmla="*/ 299726 h 1015704"/>
                <a:gd name="connsiteX40" fmla="*/ 447451 w 984983"/>
                <a:gd name="connsiteY40" fmla="*/ 403088 h 1015704"/>
                <a:gd name="connsiteX41" fmla="*/ 178279 w 984983"/>
                <a:gd name="connsiteY41" fmla="*/ 133881 h 1015704"/>
                <a:gd name="connsiteX42" fmla="*/ 179938 w 984983"/>
                <a:gd name="connsiteY42" fmla="*/ 97305 h 1015704"/>
                <a:gd name="connsiteX43" fmla="*/ 174926 w 984983"/>
                <a:gd name="connsiteY43" fmla="*/ 88060 h 1015704"/>
                <a:gd name="connsiteX44" fmla="*/ 79286 w 984983"/>
                <a:gd name="connsiteY44" fmla="*/ 31943 h 1015704"/>
                <a:gd name="connsiteX45" fmla="*/ 66959 w 984983"/>
                <a:gd name="connsiteY45" fmla="*/ 33501 h 1015704"/>
                <a:gd name="connsiteX46" fmla="*/ 2985 w 984983"/>
                <a:gd name="connsiteY46" fmla="*/ 97475 h 1015704"/>
                <a:gd name="connsiteX47" fmla="*/ 1393 w 984983"/>
                <a:gd name="connsiteY47" fmla="*/ 109802 h 1015704"/>
                <a:gd name="connsiteX48" fmla="*/ 57544 w 984983"/>
                <a:gd name="connsiteY48" fmla="*/ 205442 h 1015704"/>
                <a:gd name="connsiteX49" fmla="*/ 66756 w 984983"/>
                <a:gd name="connsiteY49" fmla="*/ 210454 h 1015704"/>
                <a:gd name="connsiteX50" fmla="*/ 103366 w 984983"/>
                <a:gd name="connsiteY50" fmla="*/ 208794 h 1015704"/>
                <a:gd name="connsiteX51" fmla="*/ 372572 w 984983"/>
                <a:gd name="connsiteY51" fmla="*/ 478034 h 1015704"/>
                <a:gd name="connsiteX52" fmla="*/ 28486 w 984983"/>
                <a:gd name="connsiteY52" fmla="*/ 822255 h 1015704"/>
                <a:gd name="connsiteX53" fmla="*/ 28486 w 984983"/>
                <a:gd name="connsiteY53" fmla="*/ 956029 h 1015704"/>
                <a:gd name="connsiteX54" fmla="*/ 162260 w 984983"/>
                <a:gd name="connsiteY54" fmla="*/ 956029 h 1015704"/>
                <a:gd name="connsiteX55" fmla="*/ 468313 w 984983"/>
                <a:gd name="connsiteY55" fmla="*/ 650043 h 1015704"/>
                <a:gd name="connsiteX56" fmla="*/ 481250 w 984983"/>
                <a:gd name="connsiteY56" fmla="*/ 662980 h 1015704"/>
                <a:gd name="connsiteX57" fmla="*/ 488430 w 984983"/>
                <a:gd name="connsiteY57" fmla="*/ 665961 h 1015704"/>
                <a:gd name="connsiteX58" fmla="*/ 488667 w 984983"/>
                <a:gd name="connsiteY58" fmla="*/ 665961 h 1015704"/>
                <a:gd name="connsiteX59" fmla="*/ 488396 w 984983"/>
                <a:gd name="connsiteY59" fmla="*/ 671515 h 1015704"/>
                <a:gd name="connsiteX60" fmla="*/ 509630 w 984983"/>
                <a:gd name="connsiteY60" fmla="*/ 722755 h 1015704"/>
                <a:gd name="connsiteX61" fmla="*/ 781342 w 984983"/>
                <a:gd name="connsiteY61" fmla="*/ 994467 h 1015704"/>
                <a:gd name="connsiteX62" fmla="*/ 883837 w 984983"/>
                <a:gd name="connsiteY62" fmla="*/ 994488 h 1015704"/>
                <a:gd name="connsiteX63" fmla="*/ 883857 w 984983"/>
                <a:gd name="connsiteY63" fmla="*/ 994467 h 1015704"/>
                <a:gd name="connsiteX64" fmla="*/ 963748 w 984983"/>
                <a:gd name="connsiteY64" fmla="*/ 914576 h 1015704"/>
                <a:gd name="connsiteX65" fmla="*/ 963748 w 984983"/>
                <a:gd name="connsiteY65" fmla="*/ 914576 h 1015704"/>
                <a:gd name="connsiteX66" fmla="*/ 984983 w 984983"/>
                <a:gd name="connsiteY66" fmla="*/ 863132 h 1015704"/>
                <a:gd name="connsiteX67" fmla="*/ 107362 w 984983"/>
                <a:gd name="connsiteY67" fmla="*/ 188271 h 1015704"/>
                <a:gd name="connsiteX68" fmla="*/ 106922 w 984983"/>
                <a:gd name="connsiteY68" fmla="*/ 188271 h 1015704"/>
                <a:gd name="connsiteX69" fmla="*/ 71971 w 984983"/>
                <a:gd name="connsiteY69" fmla="*/ 189863 h 1015704"/>
                <a:gd name="connsiteX70" fmla="*/ 22898 w 984983"/>
                <a:gd name="connsiteY70" fmla="*/ 106280 h 1015704"/>
                <a:gd name="connsiteX71" fmla="*/ 75900 w 984983"/>
                <a:gd name="connsiteY71" fmla="*/ 53414 h 1015704"/>
                <a:gd name="connsiteX72" fmla="*/ 159347 w 984983"/>
                <a:gd name="connsiteY72" fmla="*/ 102487 h 1015704"/>
                <a:gd name="connsiteX73" fmla="*/ 157755 w 984983"/>
                <a:gd name="connsiteY73" fmla="*/ 137437 h 1015704"/>
                <a:gd name="connsiteX74" fmla="*/ 160736 w 984983"/>
                <a:gd name="connsiteY74" fmla="*/ 145091 h 1015704"/>
                <a:gd name="connsiteX75" fmla="*/ 522499 w 984983"/>
                <a:gd name="connsiteY75" fmla="*/ 506855 h 1015704"/>
                <a:gd name="connsiteX76" fmla="*/ 476339 w 984983"/>
                <a:gd name="connsiteY76" fmla="*/ 553049 h 1015704"/>
                <a:gd name="connsiteX77" fmla="*/ 114542 w 984983"/>
                <a:gd name="connsiteY77" fmla="*/ 191252 h 1015704"/>
                <a:gd name="connsiteX78" fmla="*/ 107362 w 984983"/>
                <a:gd name="connsiteY78" fmla="*/ 188271 h 1015704"/>
                <a:gd name="connsiteX79" fmla="*/ 147765 w 984983"/>
                <a:gd name="connsiteY79" fmla="*/ 941669 h 1015704"/>
                <a:gd name="connsiteX80" fmla="*/ 42778 w 984983"/>
                <a:gd name="connsiteY80" fmla="*/ 944792 h 1015704"/>
                <a:gd name="connsiteX81" fmla="*/ 39656 w 984983"/>
                <a:gd name="connsiteY81" fmla="*/ 839805 h 1015704"/>
                <a:gd name="connsiteX82" fmla="*/ 42778 w 984983"/>
                <a:gd name="connsiteY82" fmla="*/ 836682 h 1015704"/>
                <a:gd name="connsiteX83" fmla="*/ 386931 w 984983"/>
                <a:gd name="connsiteY83" fmla="*/ 492394 h 1015704"/>
                <a:gd name="connsiteX84" fmla="*/ 432279 w 984983"/>
                <a:gd name="connsiteY84" fmla="*/ 537741 h 1015704"/>
                <a:gd name="connsiteX85" fmla="*/ 149120 w 984983"/>
                <a:gd name="connsiteY85" fmla="*/ 820901 h 1015704"/>
                <a:gd name="connsiteX86" fmla="*/ 163479 w 984983"/>
                <a:gd name="connsiteY86" fmla="*/ 835260 h 1015704"/>
                <a:gd name="connsiteX87" fmla="*/ 446638 w 984983"/>
                <a:gd name="connsiteY87" fmla="*/ 552101 h 1015704"/>
                <a:gd name="connsiteX88" fmla="*/ 461980 w 984983"/>
                <a:gd name="connsiteY88" fmla="*/ 567409 h 1015704"/>
                <a:gd name="connsiteX89" fmla="*/ 431127 w 984983"/>
                <a:gd name="connsiteY89" fmla="*/ 598295 h 1015704"/>
                <a:gd name="connsiteX90" fmla="*/ 431127 w 984983"/>
                <a:gd name="connsiteY90" fmla="*/ 612655 h 1015704"/>
                <a:gd name="connsiteX91" fmla="*/ 453953 w 984983"/>
                <a:gd name="connsiteY91" fmla="*/ 635515 h 1015704"/>
                <a:gd name="connsiteX92" fmla="*/ 488430 w 984983"/>
                <a:gd name="connsiteY92" fmla="*/ 641272 h 1015704"/>
                <a:gd name="connsiteX93" fmla="*/ 452633 w 984983"/>
                <a:gd name="connsiteY93" fmla="*/ 605475 h 1015704"/>
                <a:gd name="connsiteX94" fmla="*/ 574925 w 984983"/>
                <a:gd name="connsiteY94" fmla="*/ 483148 h 1015704"/>
                <a:gd name="connsiteX95" fmla="*/ 610756 w 984983"/>
                <a:gd name="connsiteY95" fmla="*/ 518979 h 1015704"/>
                <a:gd name="connsiteX96" fmla="*/ 549593 w 984983"/>
                <a:gd name="connsiteY96" fmla="*/ 579939 h 1015704"/>
                <a:gd name="connsiteX97" fmla="*/ 509630 w 984983"/>
                <a:gd name="connsiteY97" fmla="*/ 619902 h 1015704"/>
                <a:gd name="connsiteX98" fmla="*/ 509630 w 984983"/>
                <a:gd name="connsiteY98" fmla="*/ 619902 h 1015704"/>
                <a:gd name="connsiteX99" fmla="*/ 949389 w 984983"/>
                <a:gd name="connsiteY99" fmla="*/ 900013 h 1015704"/>
                <a:gd name="connsiteX100" fmla="*/ 949389 w 984983"/>
                <a:gd name="connsiteY100" fmla="*/ 900013 h 1015704"/>
                <a:gd name="connsiteX101" fmla="*/ 869464 w 984983"/>
                <a:gd name="connsiteY101" fmla="*/ 979905 h 1015704"/>
                <a:gd name="connsiteX102" fmla="*/ 795753 w 984983"/>
                <a:gd name="connsiteY102" fmla="*/ 979922 h 1015704"/>
                <a:gd name="connsiteX103" fmla="*/ 795736 w 984983"/>
                <a:gd name="connsiteY103" fmla="*/ 979905 h 1015704"/>
                <a:gd name="connsiteX104" fmla="*/ 523990 w 984983"/>
                <a:gd name="connsiteY104" fmla="*/ 708192 h 1015704"/>
                <a:gd name="connsiteX105" fmla="*/ 523986 w 984983"/>
                <a:gd name="connsiteY105" fmla="*/ 634434 h 1015704"/>
                <a:gd name="connsiteX106" fmla="*/ 523990 w 984983"/>
                <a:gd name="connsiteY106" fmla="*/ 634431 h 1015704"/>
                <a:gd name="connsiteX107" fmla="*/ 603915 w 984983"/>
                <a:gd name="connsiteY107" fmla="*/ 554539 h 1015704"/>
                <a:gd name="connsiteX108" fmla="*/ 677673 w 984983"/>
                <a:gd name="connsiteY108" fmla="*/ 554536 h 1015704"/>
                <a:gd name="connsiteX109" fmla="*/ 677677 w 984983"/>
                <a:gd name="connsiteY109" fmla="*/ 554539 h 1015704"/>
                <a:gd name="connsiteX110" fmla="*/ 949389 w 984983"/>
                <a:gd name="connsiteY110" fmla="*/ 826150 h 1015704"/>
                <a:gd name="connsiteX111" fmla="*/ 949392 w 984983"/>
                <a:gd name="connsiteY111" fmla="*/ 899908 h 1015704"/>
                <a:gd name="connsiteX112" fmla="*/ 949389 w 984983"/>
                <a:gd name="connsiteY112" fmla="*/ 899912 h 1015704"/>
                <a:gd name="connsiteX113" fmla="*/ 603102 w 984983"/>
                <a:gd name="connsiteY113" fmla="*/ 679372 h 1015704"/>
                <a:gd name="connsiteX114" fmla="*/ 824522 w 984983"/>
                <a:gd name="connsiteY114" fmla="*/ 900826 h 1015704"/>
                <a:gd name="connsiteX115" fmla="*/ 810163 w 984983"/>
                <a:gd name="connsiteY115" fmla="*/ 915185 h 1015704"/>
                <a:gd name="connsiteX116" fmla="*/ 588743 w 984983"/>
                <a:gd name="connsiteY116" fmla="*/ 693731 h 1015704"/>
                <a:gd name="connsiteX117" fmla="*/ 663216 w 984983"/>
                <a:gd name="connsiteY117" fmla="*/ 619258 h 1015704"/>
                <a:gd name="connsiteX118" fmla="*/ 884636 w 984983"/>
                <a:gd name="connsiteY118" fmla="*/ 840713 h 1015704"/>
                <a:gd name="connsiteX119" fmla="*/ 870276 w 984983"/>
                <a:gd name="connsiteY119" fmla="*/ 855072 h 1015704"/>
                <a:gd name="connsiteX120" fmla="*/ 648856 w 984983"/>
                <a:gd name="connsiteY120" fmla="*/ 633618 h 1015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984983" h="1015704">
                  <a:moveTo>
                    <a:pt x="984983" y="863132"/>
                  </a:moveTo>
                  <a:cubicBezTo>
                    <a:pt x="985030" y="843903"/>
                    <a:pt x="977386" y="825452"/>
                    <a:pt x="963748" y="811892"/>
                  </a:cubicBezTo>
                  <a:lnTo>
                    <a:pt x="692036" y="540180"/>
                  </a:lnTo>
                  <a:cubicBezTo>
                    <a:pt x="678483" y="526535"/>
                    <a:pt x="660029" y="518884"/>
                    <a:pt x="640796" y="518945"/>
                  </a:cubicBezTo>
                  <a:cubicBezTo>
                    <a:pt x="638933" y="518945"/>
                    <a:pt x="637070" y="518945"/>
                    <a:pt x="635242" y="519216"/>
                  </a:cubicBezTo>
                  <a:cubicBezTo>
                    <a:pt x="635242" y="519216"/>
                    <a:pt x="635242" y="519047"/>
                    <a:pt x="635242" y="518979"/>
                  </a:cubicBezTo>
                  <a:cubicBezTo>
                    <a:pt x="635248" y="516273"/>
                    <a:pt x="634175" y="513679"/>
                    <a:pt x="632261" y="511766"/>
                  </a:cubicBezTo>
                  <a:lnTo>
                    <a:pt x="582071" y="461609"/>
                  </a:lnTo>
                  <a:cubicBezTo>
                    <a:pt x="578105" y="457647"/>
                    <a:pt x="571677" y="457647"/>
                    <a:pt x="567712" y="461609"/>
                  </a:cubicBezTo>
                  <a:lnTo>
                    <a:pt x="536859" y="492496"/>
                  </a:lnTo>
                  <a:lnTo>
                    <a:pt x="461980" y="417481"/>
                  </a:lnTo>
                  <a:lnTo>
                    <a:pt x="570014" y="309446"/>
                  </a:lnTo>
                  <a:cubicBezTo>
                    <a:pt x="572886" y="306580"/>
                    <a:pt x="573780" y="302280"/>
                    <a:pt x="572284" y="298507"/>
                  </a:cubicBezTo>
                  <a:cubicBezTo>
                    <a:pt x="530929" y="194181"/>
                    <a:pt x="581976" y="76082"/>
                    <a:pt x="686302" y="34726"/>
                  </a:cubicBezTo>
                  <a:cubicBezTo>
                    <a:pt x="732209" y="16528"/>
                    <a:pt x="783175" y="15671"/>
                    <a:pt x="829670" y="32315"/>
                  </a:cubicBezTo>
                  <a:lnTo>
                    <a:pt x="687024" y="175910"/>
                  </a:lnTo>
                  <a:cubicBezTo>
                    <a:pt x="684362" y="178566"/>
                    <a:pt x="683387" y="182474"/>
                    <a:pt x="684484" y="186070"/>
                  </a:cubicBezTo>
                  <a:lnTo>
                    <a:pt x="708902" y="270737"/>
                  </a:lnTo>
                  <a:cubicBezTo>
                    <a:pt x="709897" y="274235"/>
                    <a:pt x="712688" y="276935"/>
                    <a:pt x="716217" y="277815"/>
                  </a:cubicBezTo>
                  <a:lnTo>
                    <a:pt x="801967" y="299083"/>
                  </a:lnTo>
                  <a:cubicBezTo>
                    <a:pt x="805439" y="299941"/>
                    <a:pt x="809103" y="298912"/>
                    <a:pt x="811619" y="296374"/>
                  </a:cubicBezTo>
                  <a:lnTo>
                    <a:pt x="952132" y="154879"/>
                  </a:lnTo>
                  <a:cubicBezTo>
                    <a:pt x="989975" y="260531"/>
                    <a:pt x="935002" y="376854"/>
                    <a:pt x="829352" y="414697"/>
                  </a:cubicBezTo>
                  <a:cubicBezTo>
                    <a:pt x="782822" y="431363"/>
                    <a:pt x="731812" y="430499"/>
                    <a:pt x="685872" y="412265"/>
                  </a:cubicBezTo>
                  <a:cubicBezTo>
                    <a:pt x="682100" y="410768"/>
                    <a:pt x="677799" y="411663"/>
                    <a:pt x="674933" y="414534"/>
                  </a:cubicBezTo>
                  <a:lnTo>
                    <a:pt x="648856" y="440612"/>
                  </a:lnTo>
                  <a:lnTo>
                    <a:pt x="663216" y="455005"/>
                  </a:lnTo>
                  <a:lnTo>
                    <a:pt x="684653" y="433534"/>
                  </a:lnTo>
                  <a:cubicBezTo>
                    <a:pt x="800718" y="475582"/>
                    <a:pt x="928893" y="415581"/>
                    <a:pt x="970945" y="299518"/>
                  </a:cubicBezTo>
                  <a:cubicBezTo>
                    <a:pt x="990605" y="245253"/>
                    <a:pt x="988512" y="185487"/>
                    <a:pt x="965103" y="132730"/>
                  </a:cubicBezTo>
                  <a:cubicBezTo>
                    <a:pt x="963738" y="129667"/>
                    <a:pt x="960951" y="127475"/>
                    <a:pt x="957652" y="126871"/>
                  </a:cubicBezTo>
                  <a:cubicBezTo>
                    <a:pt x="954360" y="126260"/>
                    <a:pt x="950977" y="127312"/>
                    <a:pt x="948610" y="129682"/>
                  </a:cubicBezTo>
                  <a:lnTo>
                    <a:pt x="801256" y="278052"/>
                  </a:lnTo>
                  <a:lnTo>
                    <a:pt x="726749" y="259561"/>
                  </a:lnTo>
                  <a:lnTo>
                    <a:pt x="705820" y="186070"/>
                  </a:lnTo>
                  <a:lnTo>
                    <a:pt x="854833" y="35770"/>
                  </a:lnTo>
                  <a:cubicBezTo>
                    <a:pt x="858792" y="31794"/>
                    <a:pt x="858782" y="25361"/>
                    <a:pt x="854806" y="21401"/>
                  </a:cubicBezTo>
                  <a:cubicBezTo>
                    <a:pt x="853925" y="20523"/>
                    <a:pt x="852889" y="19815"/>
                    <a:pt x="851751" y="19310"/>
                  </a:cubicBezTo>
                  <a:cubicBezTo>
                    <a:pt x="738938" y="-30813"/>
                    <a:pt x="606851" y="20006"/>
                    <a:pt x="556729" y="132819"/>
                  </a:cubicBezTo>
                  <a:cubicBezTo>
                    <a:pt x="533276" y="185605"/>
                    <a:pt x="531166" y="245420"/>
                    <a:pt x="550846" y="299726"/>
                  </a:cubicBezTo>
                  <a:lnTo>
                    <a:pt x="447451" y="403088"/>
                  </a:lnTo>
                  <a:lnTo>
                    <a:pt x="178279" y="133881"/>
                  </a:lnTo>
                  <a:lnTo>
                    <a:pt x="179938" y="97305"/>
                  </a:lnTo>
                  <a:cubicBezTo>
                    <a:pt x="180117" y="93531"/>
                    <a:pt x="178186" y="89970"/>
                    <a:pt x="174926" y="88060"/>
                  </a:cubicBezTo>
                  <a:lnTo>
                    <a:pt x="79286" y="31943"/>
                  </a:lnTo>
                  <a:cubicBezTo>
                    <a:pt x="75302" y="29596"/>
                    <a:pt x="70235" y="30236"/>
                    <a:pt x="66959" y="33501"/>
                  </a:cubicBezTo>
                  <a:lnTo>
                    <a:pt x="2985" y="97475"/>
                  </a:lnTo>
                  <a:cubicBezTo>
                    <a:pt x="-291" y="100742"/>
                    <a:pt x="-945" y="105810"/>
                    <a:pt x="1393" y="109802"/>
                  </a:cubicBezTo>
                  <a:lnTo>
                    <a:pt x="57544" y="205442"/>
                  </a:lnTo>
                  <a:cubicBezTo>
                    <a:pt x="59448" y="208690"/>
                    <a:pt x="62994" y="210620"/>
                    <a:pt x="66756" y="210454"/>
                  </a:cubicBezTo>
                  <a:lnTo>
                    <a:pt x="103366" y="208794"/>
                  </a:lnTo>
                  <a:lnTo>
                    <a:pt x="372572" y="478034"/>
                  </a:lnTo>
                  <a:lnTo>
                    <a:pt x="28486" y="822255"/>
                  </a:lnTo>
                  <a:cubicBezTo>
                    <a:pt x="-8454" y="859197"/>
                    <a:pt x="-8454" y="919087"/>
                    <a:pt x="28486" y="956029"/>
                  </a:cubicBezTo>
                  <a:cubicBezTo>
                    <a:pt x="65427" y="992970"/>
                    <a:pt x="125319" y="992970"/>
                    <a:pt x="162260" y="956029"/>
                  </a:cubicBezTo>
                  <a:lnTo>
                    <a:pt x="468313" y="650043"/>
                  </a:lnTo>
                  <a:lnTo>
                    <a:pt x="481250" y="662980"/>
                  </a:lnTo>
                  <a:cubicBezTo>
                    <a:pt x="483153" y="664887"/>
                    <a:pt x="485737" y="665957"/>
                    <a:pt x="488430" y="665961"/>
                  </a:cubicBezTo>
                  <a:lnTo>
                    <a:pt x="488667" y="665961"/>
                  </a:lnTo>
                  <a:cubicBezTo>
                    <a:pt x="488667" y="667823"/>
                    <a:pt x="488396" y="669652"/>
                    <a:pt x="488396" y="671515"/>
                  </a:cubicBezTo>
                  <a:cubicBezTo>
                    <a:pt x="488348" y="690744"/>
                    <a:pt x="495992" y="709195"/>
                    <a:pt x="509630" y="722755"/>
                  </a:cubicBezTo>
                  <a:lnTo>
                    <a:pt x="781342" y="994467"/>
                  </a:lnTo>
                  <a:cubicBezTo>
                    <a:pt x="809641" y="1022776"/>
                    <a:pt x="855527" y="1022783"/>
                    <a:pt x="883837" y="994488"/>
                  </a:cubicBezTo>
                  <a:cubicBezTo>
                    <a:pt x="883843" y="994481"/>
                    <a:pt x="883850" y="994474"/>
                    <a:pt x="883857" y="994467"/>
                  </a:cubicBezTo>
                  <a:lnTo>
                    <a:pt x="963748" y="914576"/>
                  </a:lnTo>
                  <a:lnTo>
                    <a:pt x="963748" y="914576"/>
                  </a:lnTo>
                  <a:cubicBezTo>
                    <a:pt x="977434" y="900965"/>
                    <a:pt x="985081" y="882433"/>
                    <a:pt x="984983" y="863132"/>
                  </a:cubicBezTo>
                  <a:close/>
                  <a:moveTo>
                    <a:pt x="107362" y="188271"/>
                  </a:moveTo>
                  <a:lnTo>
                    <a:pt x="106922" y="188271"/>
                  </a:lnTo>
                  <a:lnTo>
                    <a:pt x="71971" y="189863"/>
                  </a:lnTo>
                  <a:lnTo>
                    <a:pt x="22898" y="106280"/>
                  </a:lnTo>
                  <a:lnTo>
                    <a:pt x="75900" y="53414"/>
                  </a:lnTo>
                  <a:lnTo>
                    <a:pt x="159347" y="102487"/>
                  </a:lnTo>
                  <a:lnTo>
                    <a:pt x="157755" y="137437"/>
                  </a:lnTo>
                  <a:cubicBezTo>
                    <a:pt x="157627" y="140294"/>
                    <a:pt x="158710" y="143073"/>
                    <a:pt x="160736" y="145091"/>
                  </a:cubicBezTo>
                  <a:lnTo>
                    <a:pt x="522499" y="506855"/>
                  </a:lnTo>
                  <a:lnTo>
                    <a:pt x="476339" y="553049"/>
                  </a:lnTo>
                  <a:lnTo>
                    <a:pt x="114542" y="191252"/>
                  </a:lnTo>
                  <a:cubicBezTo>
                    <a:pt x="112638" y="189346"/>
                    <a:pt x="110056" y="188274"/>
                    <a:pt x="107362" y="188271"/>
                  </a:cubicBezTo>
                  <a:close/>
                  <a:moveTo>
                    <a:pt x="147765" y="941669"/>
                  </a:moveTo>
                  <a:cubicBezTo>
                    <a:pt x="119636" y="971523"/>
                    <a:pt x="72632" y="972921"/>
                    <a:pt x="42778" y="944792"/>
                  </a:cubicBezTo>
                  <a:cubicBezTo>
                    <a:pt x="12925" y="916662"/>
                    <a:pt x="11527" y="869658"/>
                    <a:pt x="39656" y="839805"/>
                  </a:cubicBezTo>
                  <a:cubicBezTo>
                    <a:pt x="40666" y="838731"/>
                    <a:pt x="41707" y="837692"/>
                    <a:pt x="42778" y="836682"/>
                  </a:cubicBezTo>
                  <a:lnTo>
                    <a:pt x="386931" y="492394"/>
                  </a:lnTo>
                  <a:lnTo>
                    <a:pt x="432279" y="537741"/>
                  </a:lnTo>
                  <a:lnTo>
                    <a:pt x="149120" y="820901"/>
                  </a:lnTo>
                  <a:lnTo>
                    <a:pt x="163479" y="835260"/>
                  </a:lnTo>
                  <a:lnTo>
                    <a:pt x="446638" y="552101"/>
                  </a:lnTo>
                  <a:lnTo>
                    <a:pt x="461980" y="567409"/>
                  </a:lnTo>
                  <a:lnTo>
                    <a:pt x="431127" y="598295"/>
                  </a:lnTo>
                  <a:cubicBezTo>
                    <a:pt x="427165" y="602261"/>
                    <a:pt x="427165" y="608689"/>
                    <a:pt x="431127" y="612655"/>
                  </a:cubicBezTo>
                  <a:lnTo>
                    <a:pt x="453953" y="635515"/>
                  </a:lnTo>
                  <a:close/>
                  <a:moveTo>
                    <a:pt x="488430" y="641272"/>
                  </a:moveTo>
                  <a:lnTo>
                    <a:pt x="452633" y="605475"/>
                  </a:lnTo>
                  <a:lnTo>
                    <a:pt x="574925" y="483148"/>
                  </a:lnTo>
                  <a:lnTo>
                    <a:pt x="610756" y="518979"/>
                  </a:lnTo>
                  <a:lnTo>
                    <a:pt x="549593" y="579939"/>
                  </a:lnTo>
                  <a:lnTo>
                    <a:pt x="509630" y="619902"/>
                  </a:lnTo>
                  <a:lnTo>
                    <a:pt x="509630" y="619902"/>
                  </a:lnTo>
                  <a:close/>
                  <a:moveTo>
                    <a:pt x="949389" y="900013"/>
                  </a:moveTo>
                  <a:lnTo>
                    <a:pt x="949389" y="900013"/>
                  </a:lnTo>
                  <a:lnTo>
                    <a:pt x="869464" y="979905"/>
                  </a:lnTo>
                  <a:cubicBezTo>
                    <a:pt x="849113" y="1000265"/>
                    <a:pt x="816113" y="1000272"/>
                    <a:pt x="795753" y="979922"/>
                  </a:cubicBezTo>
                  <a:cubicBezTo>
                    <a:pt x="795749" y="979918"/>
                    <a:pt x="795743" y="979911"/>
                    <a:pt x="795736" y="979905"/>
                  </a:cubicBezTo>
                  <a:lnTo>
                    <a:pt x="523990" y="708192"/>
                  </a:lnTo>
                  <a:cubicBezTo>
                    <a:pt x="503622" y="687825"/>
                    <a:pt x="503619" y="654802"/>
                    <a:pt x="523986" y="634434"/>
                  </a:cubicBezTo>
                  <a:cubicBezTo>
                    <a:pt x="523986" y="634434"/>
                    <a:pt x="523990" y="634431"/>
                    <a:pt x="523990" y="634431"/>
                  </a:cubicBezTo>
                  <a:lnTo>
                    <a:pt x="603915" y="554539"/>
                  </a:lnTo>
                  <a:cubicBezTo>
                    <a:pt x="624282" y="534172"/>
                    <a:pt x="657306" y="534168"/>
                    <a:pt x="677673" y="554536"/>
                  </a:cubicBezTo>
                  <a:cubicBezTo>
                    <a:pt x="677673" y="554536"/>
                    <a:pt x="677677" y="554539"/>
                    <a:pt x="677677" y="554539"/>
                  </a:cubicBezTo>
                  <a:lnTo>
                    <a:pt x="949389" y="826150"/>
                  </a:lnTo>
                  <a:cubicBezTo>
                    <a:pt x="969756" y="846517"/>
                    <a:pt x="969760" y="879537"/>
                    <a:pt x="949392" y="899908"/>
                  </a:cubicBezTo>
                  <a:cubicBezTo>
                    <a:pt x="949392" y="899908"/>
                    <a:pt x="949389" y="899912"/>
                    <a:pt x="949389" y="899912"/>
                  </a:cubicBezTo>
                  <a:close/>
                  <a:moveTo>
                    <a:pt x="603102" y="679372"/>
                  </a:moveTo>
                  <a:lnTo>
                    <a:pt x="824522" y="900826"/>
                  </a:lnTo>
                  <a:lnTo>
                    <a:pt x="810163" y="915185"/>
                  </a:lnTo>
                  <a:lnTo>
                    <a:pt x="588743" y="693731"/>
                  </a:lnTo>
                  <a:close/>
                  <a:moveTo>
                    <a:pt x="663216" y="619258"/>
                  </a:moveTo>
                  <a:lnTo>
                    <a:pt x="884636" y="840713"/>
                  </a:lnTo>
                  <a:lnTo>
                    <a:pt x="870276" y="855072"/>
                  </a:lnTo>
                  <a:lnTo>
                    <a:pt x="648856" y="633618"/>
                  </a:lnTo>
                  <a:close/>
                </a:path>
              </a:pathLst>
            </a:custGeom>
            <a:solidFill>
              <a:srgbClr val="000000"/>
            </a:solidFill>
            <a:ln w="3365" cap="flat">
              <a:noFill/>
              <a:prstDash val="solid"/>
              <a:miter/>
            </a:ln>
          </p:spPr>
          <p:txBody>
            <a:bodyPr rtlCol="0" anchor="ctr"/>
            <a:lstStyle/>
            <a:p>
              <a:endParaRPr lang="en-US"/>
            </a:p>
          </p:txBody>
        </p:sp>
      </p:grpSp>
      <p:grpSp>
        <p:nvGrpSpPr>
          <p:cNvPr id="87" name="ee4p_icon_group">
            <a:extLst>
              <a:ext uri="{FF2B5EF4-FFF2-40B4-BE49-F238E27FC236}">
                <a16:creationId xmlns:a16="http://schemas.microsoft.com/office/drawing/2014/main" id="{20C02F45-4954-3D0D-1009-38C57AD29D55}"/>
              </a:ext>
            </a:extLst>
          </p:cNvPr>
          <p:cNvGrpSpPr>
            <a:grpSpLocks noChangeAspect="1"/>
          </p:cNvGrpSpPr>
          <p:nvPr/>
        </p:nvGrpSpPr>
        <p:grpSpPr>
          <a:xfrm>
            <a:off x="5622524" y="2527339"/>
            <a:ext cx="540000" cy="549275"/>
            <a:chOff x="4031864" y="2917754"/>
            <a:chExt cx="1080000" cy="1098550"/>
          </a:xfrm>
        </p:grpSpPr>
        <p:grpSp>
          <p:nvGrpSpPr>
            <p:cNvPr id="88" name="ee4p_icon_frame">
              <a:extLst>
                <a:ext uri="{FF2B5EF4-FFF2-40B4-BE49-F238E27FC236}">
                  <a16:creationId xmlns:a16="http://schemas.microsoft.com/office/drawing/2014/main" id="{A9AF706D-0654-9F70-9AD5-A39E010418FC}"/>
                </a:ext>
              </a:extLst>
            </p:cNvPr>
            <p:cNvGrpSpPr>
              <a:grpSpLocks noChangeAspect="1"/>
            </p:cNvGrpSpPr>
            <p:nvPr/>
          </p:nvGrpSpPr>
          <p:grpSpPr>
            <a:xfrm>
              <a:off x="4031864" y="2917754"/>
              <a:ext cx="1080000" cy="1098550"/>
              <a:chOff x="4737100" y="1701800"/>
              <a:chExt cx="1098550" cy="1098550"/>
            </a:xfrm>
            <a:solidFill>
              <a:schemeClr val="accent3"/>
            </a:solidFill>
          </p:grpSpPr>
          <p:cxnSp>
            <p:nvCxnSpPr>
              <p:cNvPr id="90" name="ee4p_icon_frame_top">
                <a:extLst>
                  <a:ext uri="{FF2B5EF4-FFF2-40B4-BE49-F238E27FC236}">
                    <a16:creationId xmlns:a16="http://schemas.microsoft.com/office/drawing/2014/main" id="{7F4AEB70-5F35-8F47-89F3-0491DBD769FC}"/>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91" name="ee4p_icon_frame_bottom">
                <a:extLst>
                  <a:ext uri="{FF2B5EF4-FFF2-40B4-BE49-F238E27FC236}">
                    <a16:creationId xmlns:a16="http://schemas.microsoft.com/office/drawing/2014/main" id="{D41824C2-7039-0031-26A5-1F4BFC82E53D}"/>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92" name="ee4p_icon_frame_left">
                <a:extLst>
                  <a:ext uri="{FF2B5EF4-FFF2-40B4-BE49-F238E27FC236}">
                    <a16:creationId xmlns:a16="http://schemas.microsoft.com/office/drawing/2014/main" id="{1734F4D8-A501-B233-5533-EEB0D8ED6A58}"/>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93" name="ee4p_icon_frame_right">
                <a:extLst>
                  <a:ext uri="{FF2B5EF4-FFF2-40B4-BE49-F238E27FC236}">
                    <a16:creationId xmlns:a16="http://schemas.microsoft.com/office/drawing/2014/main" id="{73EF7E54-DD7C-6971-CD65-7BC2CDCF9EBF}"/>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89" name="ee4p_icon">
              <a:extLst>
                <a:ext uri="{FF2B5EF4-FFF2-40B4-BE49-F238E27FC236}">
                  <a16:creationId xmlns:a16="http://schemas.microsoft.com/office/drawing/2014/main" id="{C648D339-6E43-475C-E10F-528776AC9554}"/>
                </a:ext>
              </a:extLst>
            </p:cNvPr>
            <p:cNvSpPr>
              <a:spLocks noChangeAspect="1"/>
            </p:cNvSpPr>
            <p:nvPr/>
          </p:nvSpPr>
          <p:spPr>
            <a:xfrm>
              <a:off x="4063728" y="2990294"/>
              <a:ext cx="1016271" cy="877448"/>
            </a:xfrm>
            <a:custGeom>
              <a:avLst/>
              <a:gdLst>
                <a:gd name="connsiteX0" fmla="*/ 709270 w 1016271"/>
                <a:gd name="connsiteY0" fmla="*/ 857128 h 877448"/>
                <a:gd name="connsiteX1" fmla="*/ 725018 w 1016271"/>
                <a:gd name="connsiteY1" fmla="*/ 677398 h 877448"/>
                <a:gd name="connsiteX2" fmla="*/ 889610 w 1016271"/>
                <a:gd name="connsiteY2" fmla="*/ 677398 h 877448"/>
                <a:gd name="connsiteX3" fmla="*/ 899228 w 1016271"/>
                <a:gd name="connsiteY3" fmla="*/ 786923 h 877448"/>
                <a:gd name="connsiteX4" fmla="*/ 919548 w 1016271"/>
                <a:gd name="connsiteY4" fmla="*/ 785162 h 877448"/>
                <a:gd name="connsiteX5" fmla="*/ 897060 w 1016271"/>
                <a:gd name="connsiteY5" fmla="*/ 528892 h 877448"/>
                <a:gd name="connsiteX6" fmla="*/ 886900 w 1016271"/>
                <a:gd name="connsiteY6" fmla="*/ 519613 h 877448"/>
                <a:gd name="connsiteX7" fmla="*/ 727727 w 1016271"/>
                <a:gd name="connsiteY7" fmla="*/ 519613 h 877448"/>
                <a:gd name="connsiteX8" fmla="*/ 717567 w 1016271"/>
                <a:gd name="connsiteY8" fmla="*/ 528892 h 877448"/>
                <a:gd name="connsiteX9" fmla="*/ 709067 w 1016271"/>
                <a:gd name="connsiteY9" fmla="*/ 625954 h 877448"/>
                <a:gd name="connsiteX10" fmla="*/ 694538 w 1016271"/>
                <a:gd name="connsiteY10" fmla="*/ 460177 h 877448"/>
                <a:gd name="connsiteX11" fmla="*/ 694538 w 1016271"/>
                <a:gd name="connsiteY11" fmla="*/ 443040 h 877448"/>
                <a:gd name="connsiteX12" fmla="*/ 693014 w 1016271"/>
                <a:gd name="connsiteY12" fmla="*/ 443040 h 877448"/>
                <a:gd name="connsiteX13" fmla="*/ 683396 w 1016271"/>
                <a:gd name="connsiteY13" fmla="*/ 333380 h 877448"/>
                <a:gd name="connsiteX14" fmla="*/ 673236 w 1016271"/>
                <a:gd name="connsiteY14" fmla="*/ 324101 h 877448"/>
                <a:gd name="connsiteX15" fmla="*/ 605502 w 1016271"/>
                <a:gd name="connsiteY15" fmla="*/ 324101 h 877448"/>
                <a:gd name="connsiteX16" fmla="*/ 620200 w 1016271"/>
                <a:gd name="connsiteY16" fmla="*/ 287288 h 877448"/>
                <a:gd name="connsiteX17" fmla="*/ 740383 w 1016271"/>
                <a:gd name="connsiteY17" fmla="*/ 240336 h 877448"/>
                <a:gd name="connsiteX18" fmla="*/ 744322 w 1016271"/>
                <a:gd name="connsiteY18" fmla="*/ 229545 h 877448"/>
                <a:gd name="connsiteX19" fmla="*/ 859888 w 1016271"/>
                <a:gd name="connsiteY19" fmla="*/ 185799 h 877448"/>
                <a:gd name="connsiteX20" fmla="*/ 816143 w 1016271"/>
                <a:gd name="connsiteY20" fmla="*/ 70233 h 877448"/>
                <a:gd name="connsiteX21" fmla="*/ 808330 w 1016271"/>
                <a:gd name="connsiteY21" fmla="*/ 67154 h 877448"/>
                <a:gd name="connsiteX22" fmla="*/ 805722 w 1016271"/>
                <a:gd name="connsiteY22" fmla="*/ 66071 h 877448"/>
                <a:gd name="connsiteX23" fmla="*/ 801048 w 1016271"/>
                <a:gd name="connsiteY23" fmla="*/ 42736 h 877448"/>
                <a:gd name="connsiteX24" fmla="*/ 726305 w 1016271"/>
                <a:gd name="connsiteY24" fmla="*/ 13374 h 877448"/>
                <a:gd name="connsiteX25" fmla="*/ 709778 w 1016271"/>
                <a:gd name="connsiteY25" fmla="*/ 24381 h 877448"/>
                <a:gd name="connsiteX26" fmla="*/ 586368 w 1016271"/>
                <a:gd name="connsiteY26" fmla="*/ 26718 h 877448"/>
                <a:gd name="connsiteX27" fmla="*/ 461058 w 1016271"/>
                <a:gd name="connsiteY27" fmla="*/ 84596 h 877448"/>
                <a:gd name="connsiteX28" fmla="*/ 463161 w 1016271"/>
                <a:gd name="connsiteY28" fmla="*/ 157274 h 877448"/>
                <a:gd name="connsiteX29" fmla="*/ 465735 w 1016271"/>
                <a:gd name="connsiteY29" fmla="*/ 162658 h 877448"/>
                <a:gd name="connsiteX30" fmla="*/ 457200 w 1016271"/>
                <a:gd name="connsiteY30" fmla="*/ 258941 h 877448"/>
                <a:gd name="connsiteX31" fmla="*/ 475827 w 1016271"/>
                <a:gd name="connsiteY31" fmla="*/ 250847 h 877448"/>
                <a:gd name="connsiteX32" fmla="*/ 485784 w 1016271"/>
                <a:gd name="connsiteY32" fmla="*/ 169567 h 877448"/>
                <a:gd name="connsiteX33" fmla="*/ 486427 w 1016271"/>
                <a:gd name="connsiteY33" fmla="*/ 158188 h 877448"/>
                <a:gd name="connsiteX34" fmla="*/ 481787 w 1016271"/>
                <a:gd name="connsiteY34" fmla="*/ 149247 h 877448"/>
                <a:gd name="connsiteX35" fmla="*/ 521740 w 1016271"/>
                <a:gd name="connsiteY35" fmla="*/ 47516 h 877448"/>
                <a:gd name="connsiteX36" fmla="*/ 584945 w 1016271"/>
                <a:gd name="connsiteY36" fmla="*/ 48155 h 877448"/>
                <a:gd name="connsiteX37" fmla="*/ 597070 w 1016271"/>
                <a:gd name="connsiteY37" fmla="*/ 45310 h 877448"/>
                <a:gd name="connsiteX38" fmla="*/ 622470 w 1016271"/>
                <a:gd name="connsiteY38" fmla="*/ 25972 h 877448"/>
                <a:gd name="connsiteX39" fmla="*/ 698907 w 1016271"/>
                <a:gd name="connsiteY39" fmla="*/ 42466 h 877448"/>
                <a:gd name="connsiteX40" fmla="*/ 702496 w 1016271"/>
                <a:gd name="connsiteY40" fmla="*/ 45006 h 877448"/>
                <a:gd name="connsiteX41" fmla="*/ 707644 w 1016271"/>
                <a:gd name="connsiteY41" fmla="*/ 47139 h 877448"/>
                <a:gd name="connsiteX42" fmla="*/ 719735 w 1016271"/>
                <a:gd name="connsiteY42" fmla="*/ 43752 h 877448"/>
                <a:gd name="connsiteX43" fmla="*/ 770717 w 1016271"/>
                <a:gd name="connsiteY43" fmla="*/ 36228 h 877448"/>
                <a:gd name="connsiteX44" fmla="*/ 784996 w 1016271"/>
                <a:gd name="connsiteY44" fmla="*/ 71083 h 877448"/>
                <a:gd name="connsiteX45" fmla="*/ 791092 w 1016271"/>
                <a:gd name="connsiteY45" fmla="*/ 82056 h 877448"/>
                <a:gd name="connsiteX46" fmla="*/ 800811 w 1016271"/>
                <a:gd name="connsiteY46" fmla="*/ 86120 h 877448"/>
                <a:gd name="connsiteX47" fmla="*/ 801523 w 1016271"/>
                <a:gd name="connsiteY47" fmla="*/ 86391 h 877448"/>
                <a:gd name="connsiteX48" fmla="*/ 843653 w 1016271"/>
                <a:gd name="connsiteY48" fmla="*/ 171296 h 877448"/>
                <a:gd name="connsiteX49" fmla="*/ 758749 w 1016271"/>
                <a:gd name="connsiteY49" fmla="*/ 213427 h 877448"/>
                <a:gd name="connsiteX50" fmla="*/ 742899 w 1016271"/>
                <a:gd name="connsiteY50" fmla="*/ 205635 h 877448"/>
                <a:gd name="connsiteX51" fmla="*/ 728807 w 1016271"/>
                <a:gd name="connsiteY51" fmla="*/ 208448 h 877448"/>
                <a:gd name="connsiteX52" fmla="*/ 727185 w 1016271"/>
                <a:gd name="connsiteY52" fmla="*/ 212781 h 877448"/>
                <a:gd name="connsiteX53" fmla="*/ 647788 w 1016271"/>
                <a:gd name="connsiteY53" fmla="*/ 274056 h 877448"/>
                <a:gd name="connsiteX54" fmla="*/ 624772 w 1016271"/>
                <a:gd name="connsiteY54" fmla="*/ 266968 h 877448"/>
                <a:gd name="connsiteX55" fmla="*/ 617457 w 1016271"/>
                <a:gd name="connsiteY55" fmla="*/ 266256 h 877448"/>
                <a:gd name="connsiteX56" fmla="*/ 585352 w 1016271"/>
                <a:gd name="connsiteY56" fmla="*/ 324202 h 877448"/>
                <a:gd name="connsiteX57" fmla="*/ 422216 w 1016271"/>
                <a:gd name="connsiteY57" fmla="*/ 324202 h 877448"/>
                <a:gd name="connsiteX58" fmla="*/ 412056 w 1016271"/>
                <a:gd name="connsiteY58" fmla="*/ 333482 h 877448"/>
                <a:gd name="connsiteX59" fmla="*/ 366031 w 1016271"/>
                <a:gd name="connsiteY59" fmla="*/ 857128 h 877448"/>
                <a:gd name="connsiteX60" fmla="*/ 113047 w 1016271"/>
                <a:gd name="connsiteY60" fmla="*/ 857128 h 877448"/>
                <a:gd name="connsiteX61" fmla="*/ 128964 w 1016271"/>
                <a:gd name="connsiteY61" fmla="*/ 677398 h 877448"/>
                <a:gd name="connsiteX62" fmla="*/ 293556 w 1016271"/>
                <a:gd name="connsiteY62" fmla="*/ 677398 h 877448"/>
                <a:gd name="connsiteX63" fmla="*/ 302971 w 1016271"/>
                <a:gd name="connsiteY63" fmla="*/ 784857 h 877448"/>
                <a:gd name="connsiteX64" fmla="*/ 323291 w 1016271"/>
                <a:gd name="connsiteY64" fmla="*/ 783096 h 877448"/>
                <a:gd name="connsiteX65" fmla="*/ 300973 w 1016271"/>
                <a:gd name="connsiteY65" fmla="*/ 528892 h 877448"/>
                <a:gd name="connsiteX66" fmla="*/ 290813 w 1016271"/>
                <a:gd name="connsiteY66" fmla="*/ 519613 h 877448"/>
                <a:gd name="connsiteX67" fmla="*/ 131640 w 1016271"/>
                <a:gd name="connsiteY67" fmla="*/ 519613 h 877448"/>
                <a:gd name="connsiteX68" fmla="*/ 121480 w 1016271"/>
                <a:gd name="connsiteY68" fmla="*/ 528892 h 877448"/>
                <a:gd name="connsiteX69" fmla="*/ 92659 w 1016271"/>
                <a:gd name="connsiteY69" fmla="*/ 857128 h 877448"/>
                <a:gd name="connsiteX70" fmla="*/ 271 w 1016271"/>
                <a:gd name="connsiteY70" fmla="*/ 857128 h 877448"/>
                <a:gd name="connsiteX71" fmla="*/ 271 w 1016271"/>
                <a:gd name="connsiteY71" fmla="*/ 877448 h 877448"/>
                <a:gd name="connsiteX72" fmla="*/ 1016271 w 1016271"/>
                <a:gd name="connsiteY72" fmla="*/ 877448 h 877448"/>
                <a:gd name="connsiteX73" fmla="*/ 1016271 w 1016271"/>
                <a:gd name="connsiteY73" fmla="*/ 857128 h 877448"/>
                <a:gd name="connsiteX74" fmla="*/ 709270 w 1016271"/>
                <a:gd name="connsiteY74" fmla="*/ 857128 h 877448"/>
                <a:gd name="connsiteX75" fmla="*/ 737142 w 1016271"/>
                <a:gd name="connsiteY75" fmla="*/ 539933 h 877448"/>
                <a:gd name="connsiteX76" fmla="*/ 877418 w 1016271"/>
                <a:gd name="connsiteY76" fmla="*/ 539933 h 877448"/>
                <a:gd name="connsiteX77" fmla="*/ 882261 w 1016271"/>
                <a:gd name="connsiteY77" fmla="*/ 594932 h 877448"/>
                <a:gd name="connsiteX78" fmla="*/ 732299 w 1016271"/>
                <a:gd name="connsiteY78" fmla="*/ 594932 h 877448"/>
                <a:gd name="connsiteX79" fmla="*/ 730369 w 1016271"/>
                <a:gd name="connsiteY79" fmla="*/ 615252 h 877448"/>
                <a:gd name="connsiteX80" fmla="*/ 884191 w 1016271"/>
                <a:gd name="connsiteY80" fmla="*/ 615252 h 877448"/>
                <a:gd name="connsiteX81" fmla="*/ 887883 w 1016271"/>
                <a:gd name="connsiteY81" fmla="*/ 657078 h 877448"/>
                <a:gd name="connsiteX82" fmla="*/ 726847 w 1016271"/>
                <a:gd name="connsiteY82" fmla="*/ 657078 h 877448"/>
                <a:gd name="connsiteX83" fmla="*/ 140919 w 1016271"/>
                <a:gd name="connsiteY83" fmla="*/ 539933 h 877448"/>
                <a:gd name="connsiteX84" fmla="*/ 281364 w 1016271"/>
                <a:gd name="connsiteY84" fmla="*/ 539933 h 877448"/>
                <a:gd name="connsiteX85" fmla="*/ 286207 w 1016271"/>
                <a:gd name="connsiteY85" fmla="*/ 594932 h 877448"/>
                <a:gd name="connsiteX86" fmla="*/ 136076 w 1016271"/>
                <a:gd name="connsiteY86" fmla="*/ 594932 h 877448"/>
                <a:gd name="connsiteX87" fmla="*/ 134146 w 1016271"/>
                <a:gd name="connsiteY87" fmla="*/ 615252 h 877448"/>
                <a:gd name="connsiteX88" fmla="*/ 287935 w 1016271"/>
                <a:gd name="connsiteY88" fmla="*/ 615252 h 877448"/>
                <a:gd name="connsiteX89" fmla="*/ 291524 w 1016271"/>
                <a:gd name="connsiteY89" fmla="*/ 657078 h 877448"/>
                <a:gd name="connsiteX90" fmla="*/ 130624 w 1016271"/>
                <a:gd name="connsiteY90" fmla="*/ 657078 h 877448"/>
                <a:gd name="connsiteX91" fmla="*/ 431360 w 1016271"/>
                <a:gd name="connsiteY91" fmla="*/ 344319 h 877448"/>
                <a:gd name="connsiteX92" fmla="*/ 664058 w 1016271"/>
                <a:gd name="connsiteY92" fmla="*/ 344319 h 877448"/>
                <a:gd name="connsiteX93" fmla="*/ 672728 w 1016271"/>
                <a:gd name="connsiteY93" fmla="*/ 442939 h 877448"/>
                <a:gd name="connsiteX94" fmla="*/ 422859 w 1016271"/>
                <a:gd name="connsiteY94" fmla="*/ 442939 h 877448"/>
                <a:gd name="connsiteX95" fmla="*/ 420895 w 1016271"/>
                <a:gd name="connsiteY95" fmla="*/ 463259 h 877448"/>
                <a:gd name="connsiteX96" fmla="*/ 674353 w 1016271"/>
                <a:gd name="connsiteY96" fmla="*/ 463259 h 877448"/>
                <a:gd name="connsiteX97" fmla="*/ 681127 w 1016271"/>
                <a:gd name="connsiteY97" fmla="*/ 541152 h 877448"/>
                <a:gd name="connsiteX98" fmla="*/ 414223 w 1016271"/>
                <a:gd name="connsiteY98" fmla="*/ 541152 h 877448"/>
                <a:gd name="connsiteX99" fmla="*/ 688713 w 1016271"/>
                <a:gd name="connsiteY99" fmla="*/ 857027 h 877448"/>
                <a:gd name="connsiteX100" fmla="*/ 386351 w 1016271"/>
                <a:gd name="connsiteY100" fmla="*/ 857027 h 877448"/>
                <a:gd name="connsiteX101" fmla="*/ 412293 w 1016271"/>
                <a:gd name="connsiteY101" fmla="*/ 561438 h 877448"/>
                <a:gd name="connsiteX102" fmla="*/ 682989 w 1016271"/>
                <a:gd name="connsiteY102" fmla="*/ 561438 h 877448"/>
                <a:gd name="connsiteX103" fmla="*/ 698365 w 1016271"/>
                <a:gd name="connsiteY103" fmla="*/ 736529 h 877448"/>
                <a:gd name="connsiteX104" fmla="*/ 699347 w 1016271"/>
                <a:gd name="connsiteY104" fmla="*/ 736529 h 877448"/>
                <a:gd name="connsiteX105" fmla="*/ 0 w 1016271"/>
                <a:gd name="connsiteY105" fmla="*/ 332296 h 877448"/>
                <a:gd name="connsiteX106" fmla="*/ 93133 w 1016271"/>
                <a:gd name="connsiteY106" fmla="*/ 235201 h 877448"/>
                <a:gd name="connsiteX107" fmla="*/ 197395 w 1016271"/>
                <a:gd name="connsiteY107" fmla="*/ 176813 h 877448"/>
                <a:gd name="connsiteX108" fmla="*/ 253560 w 1016271"/>
                <a:gd name="connsiteY108" fmla="*/ 228427 h 877448"/>
                <a:gd name="connsiteX109" fmla="*/ 267818 w 1016271"/>
                <a:gd name="connsiteY109" fmla="*/ 226565 h 877448"/>
                <a:gd name="connsiteX110" fmla="*/ 327829 w 1016271"/>
                <a:gd name="connsiteY110" fmla="*/ 286576 h 877448"/>
                <a:gd name="connsiteX111" fmla="*/ 324985 w 1016271"/>
                <a:gd name="connsiteY111" fmla="*/ 304831 h 877448"/>
                <a:gd name="connsiteX112" fmla="*/ 352291 w 1016271"/>
                <a:gd name="connsiteY112" fmla="*/ 403372 h 877448"/>
                <a:gd name="connsiteX113" fmla="*/ 289492 w 1016271"/>
                <a:gd name="connsiteY113" fmla="*/ 440060 h 877448"/>
                <a:gd name="connsiteX114" fmla="*/ 289492 w 1016271"/>
                <a:gd name="connsiteY114" fmla="*/ 419740 h 877448"/>
                <a:gd name="connsiteX115" fmla="*/ 341545 w 1016271"/>
                <a:gd name="connsiteY115" fmla="*/ 367823 h 877448"/>
                <a:gd name="connsiteX116" fmla="*/ 308458 w 1016271"/>
                <a:gd name="connsiteY116" fmla="*/ 319326 h 877448"/>
                <a:gd name="connsiteX117" fmla="*/ 302686 w 1016271"/>
                <a:gd name="connsiteY117" fmla="*/ 306168 h 877448"/>
                <a:gd name="connsiteX118" fmla="*/ 303175 w 1016271"/>
                <a:gd name="connsiteY118" fmla="*/ 305102 h 877448"/>
                <a:gd name="connsiteX119" fmla="*/ 307780 w 1016271"/>
                <a:gd name="connsiteY119" fmla="*/ 286576 h 877448"/>
                <a:gd name="connsiteX120" fmla="*/ 267954 w 1016271"/>
                <a:gd name="connsiteY120" fmla="*/ 246884 h 877448"/>
                <a:gd name="connsiteX121" fmla="*/ 267818 w 1016271"/>
                <a:gd name="connsiteY121" fmla="*/ 246885 h 877448"/>
                <a:gd name="connsiteX122" fmla="*/ 250884 w 1016271"/>
                <a:gd name="connsiteY122" fmla="*/ 250644 h 877448"/>
                <a:gd name="connsiteX123" fmla="*/ 237351 w 1016271"/>
                <a:gd name="connsiteY123" fmla="*/ 245817 h 877448"/>
                <a:gd name="connsiteX124" fmla="*/ 236660 w 1016271"/>
                <a:gd name="connsiteY124" fmla="*/ 243871 h 877448"/>
                <a:gd name="connsiteX125" fmla="*/ 159887 w 1016271"/>
                <a:gd name="connsiteY125" fmla="*/ 195643 h 877448"/>
                <a:gd name="connsiteX126" fmla="*/ 110981 w 1016271"/>
                <a:gd name="connsiteY126" fmla="*/ 247257 h 877448"/>
                <a:gd name="connsiteX127" fmla="*/ 100483 w 1016271"/>
                <a:gd name="connsiteY127" fmla="*/ 255690 h 877448"/>
                <a:gd name="connsiteX128" fmla="*/ 96893 w 1016271"/>
                <a:gd name="connsiteY128" fmla="*/ 255690 h 877448"/>
                <a:gd name="connsiteX129" fmla="*/ 19931 w 1016271"/>
                <a:gd name="connsiteY129" fmla="*/ 332550 h 877448"/>
                <a:gd name="connsiteX130" fmla="*/ 96791 w 1016271"/>
                <a:gd name="connsiteY130" fmla="*/ 409512 h 877448"/>
                <a:gd name="connsiteX131" fmla="*/ 132961 w 1016271"/>
                <a:gd name="connsiteY131" fmla="*/ 400504 h 877448"/>
                <a:gd name="connsiteX132" fmla="*/ 145288 w 1016271"/>
                <a:gd name="connsiteY132" fmla="*/ 402671 h 877448"/>
                <a:gd name="connsiteX133" fmla="*/ 218447 w 1016271"/>
                <a:gd name="connsiteY133" fmla="*/ 406857 h 877448"/>
                <a:gd name="connsiteX134" fmla="*/ 227957 w 1016271"/>
                <a:gd name="connsiteY134" fmla="*/ 395559 h 877448"/>
                <a:gd name="connsiteX135" fmla="*/ 245161 w 1016271"/>
                <a:gd name="connsiteY135" fmla="*/ 406363 h 877448"/>
                <a:gd name="connsiteX136" fmla="*/ 145836 w 1016271"/>
                <a:gd name="connsiteY136" fmla="*/ 429426 h 877448"/>
                <a:gd name="connsiteX137" fmla="*/ 135636 w 1016271"/>
                <a:gd name="connsiteY137" fmla="*/ 421738 h 877448"/>
                <a:gd name="connsiteX138" fmla="*/ 7924 w 1016271"/>
                <a:gd name="connsiteY138" fmla="*/ 370904 h 877448"/>
                <a:gd name="connsiteX139" fmla="*/ 0 w 1016271"/>
                <a:gd name="connsiteY139" fmla="*/ 332296 h 877448"/>
                <a:gd name="connsiteX140" fmla="*/ 971974 w 1016271"/>
                <a:gd name="connsiteY140" fmla="*/ 395085 h 877448"/>
                <a:gd name="connsiteX141" fmla="*/ 956225 w 1016271"/>
                <a:gd name="connsiteY141" fmla="*/ 372124 h 877448"/>
                <a:gd name="connsiteX142" fmla="*/ 950400 w 1016271"/>
                <a:gd name="connsiteY142" fmla="*/ 366197 h 877448"/>
                <a:gd name="connsiteX143" fmla="*/ 950942 w 1016271"/>
                <a:gd name="connsiteY143" fmla="*/ 357900 h 877448"/>
                <a:gd name="connsiteX144" fmla="*/ 953008 w 1016271"/>
                <a:gd name="connsiteY144" fmla="*/ 349602 h 877448"/>
                <a:gd name="connsiteX145" fmla="*/ 935228 w 1016271"/>
                <a:gd name="connsiteY145" fmla="*/ 331822 h 877448"/>
                <a:gd name="connsiteX146" fmla="*/ 927744 w 1016271"/>
                <a:gd name="connsiteY146" fmla="*/ 333516 h 877448"/>
                <a:gd name="connsiteX147" fmla="*/ 914211 w 1016271"/>
                <a:gd name="connsiteY147" fmla="*/ 328690 h 877448"/>
                <a:gd name="connsiteX148" fmla="*/ 913520 w 1016271"/>
                <a:gd name="connsiteY148" fmla="*/ 326742 h 877448"/>
                <a:gd name="connsiteX149" fmla="*/ 875829 w 1016271"/>
                <a:gd name="connsiteY149" fmla="*/ 303093 h 877448"/>
                <a:gd name="connsiteX150" fmla="*/ 851848 w 1016271"/>
                <a:gd name="connsiteY150" fmla="*/ 328402 h 877448"/>
                <a:gd name="connsiteX151" fmla="*/ 841384 w 1016271"/>
                <a:gd name="connsiteY151" fmla="*/ 336835 h 877448"/>
                <a:gd name="connsiteX152" fmla="*/ 839589 w 1016271"/>
                <a:gd name="connsiteY152" fmla="*/ 336835 h 877448"/>
                <a:gd name="connsiteX153" fmla="*/ 800981 w 1016271"/>
                <a:gd name="connsiteY153" fmla="*/ 375443 h 877448"/>
                <a:gd name="connsiteX154" fmla="*/ 839589 w 1016271"/>
                <a:gd name="connsiteY154" fmla="*/ 414051 h 877448"/>
                <a:gd name="connsiteX155" fmla="*/ 857674 w 1016271"/>
                <a:gd name="connsiteY155" fmla="*/ 409546 h 877448"/>
                <a:gd name="connsiteX156" fmla="*/ 870001 w 1016271"/>
                <a:gd name="connsiteY156" fmla="*/ 411748 h 877448"/>
                <a:gd name="connsiteX157" fmla="*/ 888357 w 1016271"/>
                <a:gd name="connsiteY157" fmla="*/ 419977 h 877448"/>
                <a:gd name="connsiteX158" fmla="*/ 909219 w 1016271"/>
                <a:gd name="connsiteY158" fmla="*/ 408361 h 877448"/>
                <a:gd name="connsiteX159" fmla="*/ 926423 w 1016271"/>
                <a:gd name="connsiteY159" fmla="*/ 419164 h 877448"/>
                <a:gd name="connsiteX160" fmla="*/ 864653 w 1016271"/>
                <a:gd name="connsiteY160" fmla="*/ 433510 h 877448"/>
                <a:gd name="connsiteX161" fmla="*/ 860451 w 1016271"/>
                <a:gd name="connsiteY161" fmla="*/ 430544 h 877448"/>
                <a:gd name="connsiteX162" fmla="*/ 784457 w 1016271"/>
                <a:gd name="connsiteY162" fmla="*/ 396338 h 877448"/>
                <a:gd name="connsiteX163" fmla="*/ 818659 w 1016271"/>
                <a:gd name="connsiteY163" fmla="*/ 320345 h 877448"/>
                <a:gd name="connsiteX164" fmla="*/ 833933 w 1016271"/>
                <a:gd name="connsiteY164" fmla="*/ 316786 h 877448"/>
                <a:gd name="connsiteX165" fmla="*/ 899909 w 1016271"/>
                <a:gd name="connsiteY165" fmla="*/ 284897 h 877448"/>
                <a:gd name="connsiteX166" fmla="*/ 929911 w 1016271"/>
                <a:gd name="connsiteY166" fmla="*/ 312112 h 877448"/>
                <a:gd name="connsiteX167" fmla="*/ 935228 w 1016271"/>
                <a:gd name="connsiteY167" fmla="*/ 311739 h 877448"/>
                <a:gd name="connsiteX168" fmla="*/ 973328 w 1016271"/>
                <a:gd name="connsiteY168" fmla="*/ 349839 h 877448"/>
                <a:gd name="connsiteX169" fmla="*/ 972448 w 1016271"/>
                <a:gd name="connsiteY169" fmla="*/ 358001 h 877448"/>
                <a:gd name="connsiteX170" fmla="*/ 984670 w 1016271"/>
                <a:gd name="connsiteY170" fmla="*/ 420421 h 877448"/>
                <a:gd name="connsiteX171" fmla="*/ 947319 w 1016271"/>
                <a:gd name="connsiteY171" fmla="*/ 440297 h 877448"/>
                <a:gd name="connsiteX172" fmla="*/ 947319 w 1016271"/>
                <a:gd name="connsiteY172" fmla="*/ 419977 h 877448"/>
                <a:gd name="connsiteX173" fmla="*/ 971804 w 1016271"/>
                <a:gd name="connsiteY173" fmla="*/ 395085 h 877448"/>
                <a:gd name="connsiteX174" fmla="*/ 971804 w 1016271"/>
                <a:gd name="connsiteY174" fmla="*/ 395085 h 87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6271" h="877448">
                  <a:moveTo>
                    <a:pt x="709270" y="857128"/>
                  </a:moveTo>
                  <a:lnTo>
                    <a:pt x="725018" y="677398"/>
                  </a:lnTo>
                  <a:lnTo>
                    <a:pt x="889610" y="677398"/>
                  </a:lnTo>
                  <a:lnTo>
                    <a:pt x="899228" y="786923"/>
                  </a:lnTo>
                  <a:lnTo>
                    <a:pt x="919548" y="785162"/>
                  </a:lnTo>
                  <a:lnTo>
                    <a:pt x="897060" y="528892"/>
                  </a:lnTo>
                  <a:cubicBezTo>
                    <a:pt x="896603" y="523626"/>
                    <a:pt x="892184" y="519593"/>
                    <a:pt x="886900" y="519613"/>
                  </a:cubicBezTo>
                  <a:lnTo>
                    <a:pt x="727727" y="519613"/>
                  </a:lnTo>
                  <a:cubicBezTo>
                    <a:pt x="722444" y="519593"/>
                    <a:pt x="718024" y="523626"/>
                    <a:pt x="717567" y="528892"/>
                  </a:cubicBezTo>
                  <a:lnTo>
                    <a:pt x="709067" y="625954"/>
                  </a:lnTo>
                  <a:lnTo>
                    <a:pt x="694538" y="460177"/>
                  </a:lnTo>
                  <a:lnTo>
                    <a:pt x="694538" y="443040"/>
                  </a:lnTo>
                  <a:lnTo>
                    <a:pt x="693014" y="443040"/>
                  </a:lnTo>
                  <a:lnTo>
                    <a:pt x="683396" y="333380"/>
                  </a:lnTo>
                  <a:cubicBezTo>
                    <a:pt x="682938" y="328114"/>
                    <a:pt x="678519" y="324080"/>
                    <a:pt x="673236" y="324101"/>
                  </a:cubicBezTo>
                  <a:lnTo>
                    <a:pt x="605502" y="324101"/>
                  </a:lnTo>
                  <a:cubicBezTo>
                    <a:pt x="607365" y="300157"/>
                    <a:pt x="615662" y="290674"/>
                    <a:pt x="620200" y="287288"/>
                  </a:cubicBezTo>
                  <a:cubicBezTo>
                    <a:pt x="666354" y="307509"/>
                    <a:pt x="720161" y="286488"/>
                    <a:pt x="740383" y="240336"/>
                  </a:cubicBezTo>
                  <a:cubicBezTo>
                    <a:pt x="741921" y="236825"/>
                    <a:pt x="743238" y="233221"/>
                    <a:pt x="744322" y="229545"/>
                  </a:cubicBezTo>
                  <a:cubicBezTo>
                    <a:pt x="788315" y="249378"/>
                    <a:pt x="840056" y="229792"/>
                    <a:pt x="859888" y="185799"/>
                  </a:cubicBezTo>
                  <a:cubicBezTo>
                    <a:pt x="879721" y="141807"/>
                    <a:pt x="860136" y="90066"/>
                    <a:pt x="816143" y="70233"/>
                  </a:cubicBezTo>
                  <a:cubicBezTo>
                    <a:pt x="813589" y="69083"/>
                    <a:pt x="810982" y="68055"/>
                    <a:pt x="808330" y="67154"/>
                  </a:cubicBezTo>
                  <a:lnTo>
                    <a:pt x="805722" y="66071"/>
                  </a:lnTo>
                  <a:cubicBezTo>
                    <a:pt x="805851" y="58048"/>
                    <a:pt x="804259" y="50090"/>
                    <a:pt x="801048" y="42736"/>
                  </a:cubicBezTo>
                  <a:cubicBezTo>
                    <a:pt x="788484" y="14022"/>
                    <a:pt x="755054" y="889"/>
                    <a:pt x="726305" y="13374"/>
                  </a:cubicBezTo>
                  <a:cubicBezTo>
                    <a:pt x="720185" y="16029"/>
                    <a:pt x="714587" y="19756"/>
                    <a:pt x="709778" y="24381"/>
                  </a:cubicBezTo>
                  <a:cubicBezTo>
                    <a:pt x="675041" y="-9018"/>
                    <a:pt x="619814" y="-7972"/>
                    <a:pt x="586368" y="26718"/>
                  </a:cubicBezTo>
                  <a:cubicBezTo>
                    <a:pt x="535781" y="8097"/>
                    <a:pt x="479678" y="34010"/>
                    <a:pt x="461058" y="84596"/>
                  </a:cubicBezTo>
                  <a:cubicBezTo>
                    <a:pt x="452371" y="108189"/>
                    <a:pt x="453126" y="134223"/>
                    <a:pt x="463161" y="157274"/>
                  </a:cubicBezTo>
                  <a:cubicBezTo>
                    <a:pt x="463940" y="159068"/>
                    <a:pt x="464786" y="160863"/>
                    <a:pt x="465735" y="162658"/>
                  </a:cubicBezTo>
                  <a:cubicBezTo>
                    <a:pt x="446705" y="191215"/>
                    <a:pt x="443491" y="227483"/>
                    <a:pt x="457200" y="258941"/>
                  </a:cubicBezTo>
                  <a:lnTo>
                    <a:pt x="475827" y="250847"/>
                  </a:lnTo>
                  <a:cubicBezTo>
                    <a:pt x="464150" y="223955"/>
                    <a:pt x="467960" y="192845"/>
                    <a:pt x="485784" y="169567"/>
                  </a:cubicBezTo>
                  <a:cubicBezTo>
                    <a:pt x="488307" y="166263"/>
                    <a:pt x="488561" y="161755"/>
                    <a:pt x="486427" y="158188"/>
                  </a:cubicBezTo>
                  <a:cubicBezTo>
                    <a:pt x="484697" y="155307"/>
                    <a:pt x="483145" y="152321"/>
                    <a:pt x="481787" y="149247"/>
                  </a:cubicBezTo>
                  <a:cubicBezTo>
                    <a:pt x="464729" y="110122"/>
                    <a:pt x="482617" y="64575"/>
                    <a:pt x="521740" y="47516"/>
                  </a:cubicBezTo>
                  <a:cubicBezTo>
                    <a:pt x="541938" y="38710"/>
                    <a:pt x="564930" y="38942"/>
                    <a:pt x="584945" y="48155"/>
                  </a:cubicBezTo>
                  <a:cubicBezTo>
                    <a:pt x="589162" y="50085"/>
                    <a:pt x="594150" y="48915"/>
                    <a:pt x="597070" y="45310"/>
                  </a:cubicBezTo>
                  <a:cubicBezTo>
                    <a:pt x="603829" y="36886"/>
                    <a:pt x="612550" y="30247"/>
                    <a:pt x="622470" y="25972"/>
                  </a:cubicBezTo>
                  <a:cubicBezTo>
                    <a:pt x="648845" y="14475"/>
                    <a:pt x="679620" y="21115"/>
                    <a:pt x="698907" y="42466"/>
                  </a:cubicBezTo>
                  <a:cubicBezTo>
                    <a:pt x="699909" y="43559"/>
                    <a:pt x="701132" y="44425"/>
                    <a:pt x="702496" y="45006"/>
                  </a:cubicBezTo>
                  <a:lnTo>
                    <a:pt x="707644" y="47139"/>
                  </a:lnTo>
                  <a:cubicBezTo>
                    <a:pt x="711972" y="48933"/>
                    <a:pt x="716968" y="47534"/>
                    <a:pt x="719735" y="43752"/>
                  </a:cubicBezTo>
                  <a:cubicBezTo>
                    <a:pt x="731734" y="27596"/>
                    <a:pt x="754560" y="24227"/>
                    <a:pt x="770717" y="36228"/>
                  </a:cubicBezTo>
                  <a:cubicBezTo>
                    <a:pt x="781579" y="44295"/>
                    <a:pt x="787075" y="57715"/>
                    <a:pt x="784996" y="71083"/>
                  </a:cubicBezTo>
                  <a:cubicBezTo>
                    <a:pt x="784254" y="75708"/>
                    <a:pt x="786774" y="80241"/>
                    <a:pt x="791092" y="82056"/>
                  </a:cubicBezTo>
                  <a:lnTo>
                    <a:pt x="800811" y="86120"/>
                  </a:lnTo>
                  <a:lnTo>
                    <a:pt x="801523" y="86391"/>
                  </a:lnTo>
                  <a:cubicBezTo>
                    <a:pt x="836602" y="98202"/>
                    <a:pt x="855465" y="136216"/>
                    <a:pt x="843653" y="171296"/>
                  </a:cubicBezTo>
                  <a:cubicBezTo>
                    <a:pt x="831843" y="206376"/>
                    <a:pt x="793828" y="225239"/>
                    <a:pt x="758749" y="213427"/>
                  </a:cubicBezTo>
                  <a:cubicBezTo>
                    <a:pt x="753144" y="211540"/>
                    <a:pt x="747817" y="208920"/>
                    <a:pt x="742899" y="205635"/>
                  </a:cubicBezTo>
                  <a:cubicBezTo>
                    <a:pt x="738233" y="202521"/>
                    <a:pt x="731923" y="203781"/>
                    <a:pt x="728807" y="208448"/>
                  </a:cubicBezTo>
                  <a:cubicBezTo>
                    <a:pt x="727941" y="209749"/>
                    <a:pt x="727385" y="211231"/>
                    <a:pt x="727185" y="212781"/>
                  </a:cubicBezTo>
                  <a:cubicBezTo>
                    <a:pt x="722180" y="251626"/>
                    <a:pt x="686633" y="279061"/>
                    <a:pt x="647788" y="274056"/>
                  </a:cubicBezTo>
                  <a:cubicBezTo>
                    <a:pt x="639769" y="273023"/>
                    <a:pt x="631983" y="270625"/>
                    <a:pt x="624772" y="266968"/>
                  </a:cubicBezTo>
                  <a:cubicBezTo>
                    <a:pt x="622507" y="265826"/>
                    <a:pt x="619899" y="265572"/>
                    <a:pt x="617457" y="266256"/>
                  </a:cubicBezTo>
                  <a:cubicBezTo>
                    <a:pt x="614342" y="267103"/>
                    <a:pt x="588569" y="275773"/>
                    <a:pt x="585352" y="324202"/>
                  </a:cubicBezTo>
                  <a:lnTo>
                    <a:pt x="422216" y="324202"/>
                  </a:lnTo>
                  <a:cubicBezTo>
                    <a:pt x="416933" y="324182"/>
                    <a:pt x="412513" y="328216"/>
                    <a:pt x="412056" y="333482"/>
                  </a:cubicBezTo>
                  <a:lnTo>
                    <a:pt x="366031" y="857128"/>
                  </a:lnTo>
                  <a:lnTo>
                    <a:pt x="113047" y="857128"/>
                  </a:lnTo>
                  <a:lnTo>
                    <a:pt x="128964" y="677398"/>
                  </a:lnTo>
                  <a:lnTo>
                    <a:pt x="293556" y="677398"/>
                  </a:lnTo>
                  <a:lnTo>
                    <a:pt x="302971" y="784857"/>
                  </a:lnTo>
                  <a:lnTo>
                    <a:pt x="323291" y="783096"/>
                  </a:lnTo>
                  <a:lnTo>
                    <a:pt x="300973" y="528892"/>
                  </a:lnTo>
                  <a:cubicBezTo>
                    <a:pt x="300515" y="523626"/>
                    <a:pt x="296098" y="519593"/>
                    <a:pt x="290813" y="519613"/>
                  </a:cubicBezTo>
                  <a:lnTo>
                    <a:pt x="131640" y="519613"/>
                  </a:lnTo>
                  <a:cubicBezTo>
                    <a:pt x="126355" y="519593"/>
                    <a:pt x="121938" y="523626"/>
                    <a:pt x="121480" y="528892"/>
                  </a:cubicBezTo>
                  <a:lnTo>
                    <a:pt x="92659" y="857128"/>
                  </a:lnTo>
                  <a:lnTo>
                    <a:pt x="271" y="857128"/>
                  </a:lnTo>
                  <a:lnTo>
                    <a:pt x="271" y="877448"/>
                  </a:lnTo>
                  <a:lnTo>
                    <a:pt x="1016271" y="877448"/>
                  </a:lnTo>
                  <a:lnTo>
                    <a:pt x="1016271" y="857128"/>
                  </a:lnTo>
                  <a:lnTo>
                    <a:pt x="709270" y="857128"/>
                  </a:lnTo>
                  <a:close/>
                  <a:moveTo>
                    <a:pt x="737142" y="539933"/>
                  </a:moveTo>
                  <a:lnTo>
                    <a:pt x="877418" y="539933"/>
                  </a:lnTo>
                  <a:lnTo>
                    <a:pt x="882261" y="594932"/>
                  </a:lnTo>
                  <a:lnTo>
                    <a:pt x="732299" y="594932"/>
                  </a:lnTo>
                  <a:close/>
                  <a:moveTo>
                    <a:pt x="730369" y="615252"/>
                  </a:moveTo>
                  <a:lnTo>
                    <a:pt x="884191" y="615252"/>
                  </a:lnTo>
                  <a:lnTo>
                    <a:pt x="887883" y="657078"/>
                  </a:lnTo>
                  <a:lnTo>
                    <a:pt x="726847" y="657078"/>
                  </a:lnTo>
                  <a:close/>
                  <a:moveTo>
                    <a:pt x="140919" y="539933"/>
                  </a:moveTo>
                  <a:lnTo>
                    <a:pt x="281364" y="539933"/>
                  </a:lnTo>
                  <a:lnTo>
                    <a:pt x="286207" y="594932"/>
                  </a:lnTo>
                  <a:lnTo>
                    <a:pt x="136076" y="594932"/>
                  </a:lnTo>
                  <a:close/>
                  <a:moveTo>
                    <a:pt x="134146" y="615252"/>
                  </a:moveTo>
                  <a:lnTo>
                    <a:pt x="287935" y="615252"/>
                  </a:lnTo>
                  <a:lnTo>
                    <a:pt x="291524" y="657078"/>
                  </a:lnTo>
                  <a:lnTo>
                    <a:pt x="130624" y="657078"/>
                  </a:lnTo>
                  <a:close/>
                  <a:moveTo>
                    <a:pt x="431360" y="344319"/>
                  </a:moveTo>
                  <a:lnTo>
                    <a:pt x="664058" y="344319"/>
                  </a:lnTo>
                  <a:lnTo>
                    <a:pt x="672728" y="442939"/>
                  </a:lnTo>
                  <a:lnTo>
                    <a:pt x="422859" y="442939"/>
                  </a:lnTo>
                  <a:close/>
                  <a:moveTo>
                    <a:pt x="420895" y="463259"/>
                  </a:moveTo>
                  <a:lnTo>
                    <a:pt x="674353" y="463259"/>
                  </a:lnTo>
                  <a:lnTo>
                    <a:pt x="681127" y="541152"/>
                  </a:lnTo>
                  <a:lnTo>
                    <a:pt x="414223" y="541152"/>
                  </a:lnTo>
                  <a:close/>
                  <a:moveTo>
                    <a:pt x="688713" y="857027"/>
                  </a:moveTo>
                  <a:lnTo>
                    <a:pt x="386351" y="857027"/>
                  </a:lnTo>
                  <a:lnTo>
                    <a:pt x="412293" y="561438"/>
                  </a:lnTo>
                  <a:lnTo>
                    <a:pt x="682989" y="561438"/>
                  </a:lnTo>
                  <a:lnTo>
                    <a:pt x="698365" y="736529"/>
                  </a:lnTo>
                  <a:lnTo>
                    <a:pt x="699347" y="736529"/>
                  </a:lnTo>
                  <a:close/>
                  <a:moveTo>
                    <a:pt x="0" y="332296"/>
                  </a:moveTo>
                  <a:cubicBezTo>
                    <a:pt x="61" y="280223"/>
                    <a:pt x="41109" y="237430"/>
                    <a:pt x="93133" y="235201"/>
                  </a:cubicBezTo>
                  <a:cubicBezTo>
                    <a:pt x="105801" y="190286"/>
                    <a:pt x="152481" y="164145"/>
                    <a:pt x="197395" y="176813"/>
                  </a:cubicBezTo>
                  <a:cubicBezTo>
                    <a:pt x="223259" y="184108"/>
                    <a:pt x="244111" y="203270"/>
                    <a:pt x="253560" y="228427"/>
                  </a:cubicBezTo>
                  <a:cubicBezTo>
                    <a:pt x="258218" y="227221"/>
                    <a:pt x="263007" y="226596"/>
                    <a:pt x="267818" y="226565"/>
                  </a:cubicBezTo>
                  <a:cubicBezTo>
                    <a:pt x="300961" y="226565"/>
                    <a:pt x="327829" y="253434"/>
                    <a:pt x="327829" y="286576"/>
                  </a:cubicBezTo>
                  <a:cubicBezTo>
                    <a:pt x="327828" y="292771"/>
                    <a:pt x="326869" y="298931"/>
                    <a:pt x="324985" y="304831"/>
                  </a:cubicBezTo>
                  <a:cubicBezTo>
                    <a:pt x="359735" y="324500"/>
                    <a:pt x="371961" y="368618"/>
                    <a:pt x="352291" y="403372"/>
                  </a:cubicBezTo>
                  <a:cubicBezTo>
                    <a:pt x="339480" y="426006"/>
                    <a:pt x="315500" y="440016"/>
                    <a:pt x="289492" y="440060"/>
                  </a:cubicBezTo>
                  <a:lnTo>
                    <a:pt x="289492" y="419740"/>
                  </a:lnTo>
                  <a:cubicBezTo>
                    <a:pt x="318203" y="419777"/>
                    <a:pt x="341508" y="396535"/>
                    <a:pt x="341545" y="367823"/>
                  </a:cubicBezTo>
                  <a:cubicBezTo>
                    <a:pt x="341576" y="346382"/>
                    <a:pt x="328434" y="327122"/>
                    <a:pt x="308458" y="319326"/>
                  </a:cubicBezTo>
                  <a:cubicBezTo>
                    <a:pt x="303230" y="317287"/>
                    <a:pt x="300646" y="311394"/>
                    <a:pt x="302686" y="306168"/>
                  </a:cubicBezTo>
                  <a:cubicBezTo>
                    <a:pt x="302828" y="305803"/>
                    <a:pt x="302991" y="305447"/>
                    <a:pt x="303175" y="305102"/>
                  </a:cubicBezTo>
                  <a:cubicBezTo>
                    <a:pt x="306213" y="299402"/>
                    <a:pt x="307796" y="293038"/>
                    <a:pt x="307780" y="286576"/>
                  </a:cubicBezTo>
                  <a:cubicBezTo>
                    <a:pt x="307743" y="264618"/>
                    <a:pt x="289912" y="246847"/>
                    <a:pt x="267954" y="246884"/>
                  </a:cubicBezTo>
                  <a:cubicBezTo>
                    <a:pt x="267909" y="246884"/>
                    <a:pt x="267863" y="246884"/>
                    <a:pt x="267818" y="246885"/>
                  </a:cubicBezTo>
                  <a:cubicBezTo>
                    <a:pt x="261963" y="246854"/>
                    <a:pt x="256176" y="248138"/>
                    <a:pt x="250884" y="250644"/>
                  </a:cubicBezTo>
                  <a:cubicBezTo>
                    <a:pt x="245814" y="253048"/>
                    <a:pt x="239755" y="250887"/>
                    <a:pt x="237351" y="245817"/>
                  </a:cubicBezTo>
                  <a:cubicBezTo>
                    <a:pt x="237055" y="245193"/>
                    <a:pt x="236824" y="244541"/>
                    <a:pt x="236660" y="243871"/>
                  </a:cubicBezTo>
                  <a:cubicBezTo>
                    <a:pt x="228778" y="209352"/>
                    <a:pt x="194405" y="187760"/>
                    <a:pt x="159887" y="195643"/>
                  </a:cubicBezTo>
                  <a:cubicBezTo>
                    <a:pt x="134664" y="201403"/>
                    <a:pt x="115374" y="221760"/>
                    <a:pt x="110981" y="247257"/>
                  </a:cubicBezTo>
                  <a:cubicBezTo>
                    <a:pt x="110115" y="252317"/>
                    <a:pt x="105610" y="255935"/>
                    <a:pt x="100483" y="255690"/>
                  </a:cubicBezTo>
                  <a:cubicBezTo>
                    <a:pt x="99297" y="255690"/>
                    <a:pt x="98112" y="255690"/>
                    <a:pt x="96893" y="255690"/>
                  </a:cubicBezTo>
                  <a:cubicBezTo>
                    <a:pt x="54416" y="255662"/>
                    <a:pt x="19959" y="290075"/>
                    <a:pt x="19931" y="332550"/>
                  </a:cubicBezTo>
                  <a:cubicBezTo>
                    <a:pt x="19903" y="375026"/>
                    <a:pt x="54314" y="409485"/>
                    <a:pt x="96791" y="409512"/>
                  </a:cubicBezTo>
                  <a:cubicBezTo>
                    <a:pt x="109404" y="409519"/>
                    <a:pt x="121825" y="406427"/>
                    <a:pt x="132961" y="400504"/>
                  </a:cubicBezTo>
                  <a:cubicBezTo>
                    <a:pt x="137080" y="398309"/>
                    <a:pt x="142165" y="399203"/>
                    <a:pt x="145288" y="402671"/>
                  </a:cubicBezTo>
                  <a:cubicBezTo>
                    <a:pt x="164334" y="424031"/>
                    <a:pt x="197089" y="425904"/>
                    <a:pt x="218447" y="406857"/>
                  </a:cubicBezTo>
                  <a:cubicBezTo>
                    <a:pt x="222140" y="403565"/>
                    <a:pt x="225343" y="399762"/>
                    <a:pt x="227957" y="395559"/>
                  </a:cubicBezTo>
                  <a:lnTo>
                    <a:pt x="245161" y="406363"/>
                  </a:lnTo>
                  <a:cubicBezTo>
                    <a:pt x="224102" y="440158"/>
                    <a:pt x="179633" y="450484"/>
                    <a:pt x="145836" y="429426"/>
                  </a:cubicBezTo>
                  <a:cubicBezTo>
                    <a:pt x="142215" y="427171"/>
                    <a:pt x="138802" y="424597"/>
                    <a:pt x="135636" y="421738"/>
                  </a:cubicBezTo>
                  <a:cubicBezTo>
                    <a:pt x="86332" y="442966"/>
                    <a:pt x="29153" y="420208"/>
                    <a:pt x="7924" y="370904"/>
                  </a:cubicBezTo>
                  <a:cubicBezTo>
                    <a:pt x="2674" y="358709"/>
                    <a:pt x="-23" y="345572"/>
                    <a:pt x="0" y="332296"/>
                  </a:cubicBezTo>
                  <a:close/>
                  <a:moveTo>
                    <a:pt x="971974" y="395085"/>
                  </a:moveTo>
                  <a:cubicBezTo>
                    <a:pt x="972001" y="384905"/>
                    <a:pt x="965732" y="375764"/>
                    <a:pt x="956225" y="372124"/>
                  </a:cubicBezTo>
                  <a:cubicBezTo>
                    <a:pt x="953526" y="371070"/>
                    <a:pt x="951410" y="368913"/>
                    <a:pt x="950400" y="366197"/>
                  </a:cubicBezTo>
                  <a:cubicBezTo>
                    <a:pt x="949388" y="363481"/>
                    <a:pt x="949588" y="360460"/>
                    <a:pt x="950942" y="357900"/>
                  </a:cubicBezTo>
                  <a:cubicBezTo>
                    <a:pt x="952314" y="355349"/>
                    <a:pt x="953025" y="352498"/>
                    <a:pt x="953008" y="349602"/>
                  </a:cubicBezTo>
                  <a:cubicBezTo>
                    <a:pt x="953008" y="339784"/>
                    <a:pt x="945050" y="331822"/>
                    <a:pt x="935228" y="331822"/>
                  </a:cubicBezTo>
                  <a:cubicBezTo>
                    <a:pt x="932637" y="331826"/>
                    <a:pt x="930084" y="332405"/>
                    <a:pt x="927744" y="333516"/>
                  </a:cubicBezTo>
                  <a:cubicBezTo>
                    <a:pt x="922674" y="335920"/>
                    <a:pt x="916615" y="333759"/>
                    <a:pt x="914211" y="328690"/>
                  </a:cubicBezTo>
                  <a:cubicBezTo>
                    <a:pt x="913916" y="328067"/>
                    <a:pt x="913682" y="327413"/>
                    <a:pt x="913520" y="326742"/>
                  </a:cubicBezTo>
                  <a:cubicBezTo>
                    <a:pt x="909642" y="309806"/>
                    <a:pt x="892770" y="299215"/>
                    <a:pt x="875829" y="303093"/>
                  </a:cubicBezTo>
                  <a:cubicBezTo>
                    <a:pt x="863465" y="305924"/>
                    <a:pt x="854009" y="315902"/>
                    <a:pt x="851848" y="328402"/>
                  </a:cubicBezTo>
                  <a:cubicBezTo>
                    <a:pt x="850985" y="333448"/>
                    <a:pt x="846498" y="337061"/>
                    <a:pt x="841384" y="336835"/>
                  </a:cubicBezTo>
                  <a:lnTo>
                    <a:pt x="839589" y="336835"/>
                  </a:lnTo>
                  <a:cubicBezTo>
                    <a:pt x="818266" y="336835"/>
                    <a:pt x="800981" y="354120"/>
                    <a:pt x="800981" y="375443"/>
                  </a:cubicBezTo>
                  <a:cubicBezTo>
                    <a:pt x="800981" y="396765"/>
                    <a:pt x="818266" y="414051"/>
                    <a:pt x="839589" y="414051"/>
                  </a:cubicBezTo>
                  <a:cubicBezTo>
                    <a:pt x="845898" y="414081"/>
                    <a:pt x="852116" y="412530"/>
                    <a:pt x="857674" y="409546"/>
                  </a:cubicBezTo>
                  <a:cubicBezTo>
                    <a:pt x="861802" y="407359"/>
                    <a:pt x="866885" y="408266"/>
                    <a:pt x="870001" y="411748"/>
                  </a:cubicBezTo>
                  <a:cubicBezTo>
                    <a:pt x="874681" y="416963"/>
                    <a:pt x="881350" y="419950"/>
                    <a:pt x="888357" y="419977"/>
                  </a:cubicBezTo>
                  <a:cubicBezTo>
                    <a:pt x="896854" y="419981"/>
                    <a:pt x="904748" y="415585"/>
                    <a:pt x="909219" y="408361"/>
                  </a:cubicBezTo>
                  <a:lnTo>
                    <a:pt x="926423" y="419164"/>
                  </a:lnTo>
                  <a:cubicBezTo>
                    <a:pt x="913327" y="440182"/>
                    <a:pt x="885674" y="446607"/>
                    <a:pt x="864653" y="433510"/>
                  </a:cubicBezTo>
                  <a:cubicBezTo>
                    <a:pt x="863197" y="432603"/>
                    <a:pt x="861795" y="431614"/>
                    <a:pt x="860451" y="430544"/>
                  </a:cubicBezTo>
                  <a:cubicBezTo>
                    <a:pt x="830021" y="442085"/>
                    <a:pt x="795996" y="426771"/>
                    <a:pt x="784457" y="396338"/>
                  </a:cubicBezTo>
                  <a:cubicBezTo>
                    <a:pt x="772915" y="365909"/>
                    <a:pt x="788230" y="331887"/>
                    <a:pt x="818659" y="320345"/>
                  </a:cubicBezTo>
                  <a:cubicBezTo>
                    <a:pt x="823570" y="318482"/>
                    <a:pt x="828707" y="317287"/>
                    <a:pt x="833933" y="316786"/>
                  </a:cubicBezTo>
                  <a:cubicBezTo>
                    <a:pt x="843345" y="289760"/>
                    <a:pt x="872883" y="275482"/>
                    <a:pt x="899909" y="284897"/>
                  </a:cubicBezTo>
                  <a:cubicBezTo>
                    <a:pt x="913188" y="289523"/>
                    <a:pt x="924018" y="299344"/>
                    <a:pt x="929911" y="312112"/>
                  </a:cubicBezTo>
                  <a:cubicBezTo>
                    <a:pt x="931672" y="311868"/>
                    <a:pt x="933450" y="311743"/>
                    <a:pt x="935228" y="311739"/>
                  </a:cubicBezTo>
                  <a:cubicBezTo>
                    <a:pt x="956256" y="311777"/>
                    <a:pt x="973291" y="328812"/>
                    <a:pt x="973328" y="349839"/>
                  </a:cubicBezTo>
                  <a:cubicBezTo>
                    <a:pt x="973325" y="352583"/>
                    <a:pt x="973030" y="355319"/>
                    <a:pt x="972448" y="358001"/>
                  </a:cubicBezTo>
                  <a:cubicBezTo>
                    <a:pt x="993059" y="371863"/>
                    <a:pt x="998532" y="399806"/>
                    <a:pt x="984670" y="420421"/>
                  </a:cubicBezTo>
                  <a:cubicBezTo>
                    <a:pt x="976308" y="432853"/>
                    <a:pt x="962305" y="440307"/>
                    <a:pt x="947319" y="440297"/>
                  </a:cubicBezTo>
                  <a:lnTo>
                    <a:pt x="947319" y="419977"/>
                  </a:lnTo>
                  <a:cubicBezTo>
                    <a:pt x="960953" y="419865"/>
                    <a:pt x="971916" y="408723"/>
                    <a:pt x="971804" y="395085"/>
                  </a:cubicBezTo>
                  <a:cubicBezTo>
                    <a:pt x="971804" y="395085"/>
                    <a:pt x="971804" y="395085"/>
                    <a:pt x="971804" y="395085"/>
                  </a:cubicBezTo>
                  <a:close/>
                </a:path>
              </a:pathLst>
            </a:custGeom>
            <a:solidFill>
              <a:srgbClr val="000000"/>
            </a:solidFill>
            <a:ln w="3365" cap="flat">
              <a:noFill/>
              <a:prstDash val="solid"/>
              <a:miter/>
            </a:ln>
          </p:spPr>
          <p:txBody>
            <a:bodyPr rtlCol="0" anchor="ctr"/>
            <a:lstStyle/>
            <a:p>
              <a:endParaRPr lang="en-US"/>
            </a:p>
          </p:txBody>
        </p:sp>
      </p:grpSp>
      <p:grpSp>
        <p:nvGrpSpPr>
          <p:cNvPr id="94" name="ee4p_icon_group">
            <a:extLst>
              <a:ext uri="{FF2B5EF4-FFF2-40B4-BE49-F238E27FC236}">
                <a16:creationId xmlns:a16="http://schemas.microsoft.com/office/drawing/2014/main" id="{032C07CA-54B6-232B-DFE0-4523B943F031}"/>
              </a:ext>
            </a:extLst>
          </p:cNvPr>
          <p:cNvGrpSpPr>
            <a:grpSpLocks noChangeAspect="1"/>
          </p:cNvGrpSpPr>
          <p:nvPr/>
        </p:nvGrpSpPr>
        <p:grpSpPr>
          <a:xfrm>
            <a:off x="5336906" y="4333977"/>
            <a:ext cx="503202" cy="503202"/>
            <a:chOff x="4031868" y="2889586"/>
            <a:chExt cx="1080000" cy="1080001"/>
          </a:xfrm>
        </p:grpSpPr>
        <p:grpSp>
          <p:nvGrpSpPr>
            <p:cNvPr id="95" name="ee4p_icon_frame">
              <a:extLst>
                <a:ext uri="{FF2B5EF4-FFF2-40B4-BE49-F238E27FC236}">
                  <a16:creationId xmlns:a16="http://schemas.microsoft.com/office/drawing/2014/main" id="{6E94962A-0F89-61D0-C434-31FA64C923D9}"/>
                </a:ext>
              </a:extLst>
            </p:cNvPr>
            <p:cNvGrpSpPr>
              <a:grpSpLocks noChangeAspect="1"/>
            </p:cNvGrpSpPr>
            <p:nvPr/>
          </p:nvGrpSpPr>
          <p:grpSpPr>
            <a:xfrm>
              <a:off x="4031868" y="2889586"/>
              <a:ext cx="1080000" cy="1080001"/>
              <a:chOff x="4737100" y="1701800"/>
              <a:chExt cx="1098550" cy="1098550"/>
            </a:xfrm>
            <a:solidFill>
              <a:schemeClr val="accent3"/>
            </a:solidFill>
          </p:grpSpPr>
          <p:cxnSp>
            <p:nvCxnSpPr>
              <p:cNvPr id="97" name="ee4p_icon_frame_top">
                <a:extLst>
                  <a:ext uri="{FF2B5EF4-FFF2-40B4-BE49-F238E27FC236}">
                    <a16:creationId xmlns:a16="http://schemas.microsoft.com/office/drawing/2014/main" id="{35C81BB3-E49D-5DF2-4DB5-BCEDEA52C73E}"/>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98" name="ee4p_icon_frame_bottom">
                <a:extLst>
                  <a:ext uri="{FF2B5EF4-FFF2-40B4-BE49-F238E27FC236}">
                    <a16:creationId xmlns:a16="http://schemas.microsoft.com/office/drawing/2014/main" id="{1AD29A8A-DFED-6366-10E4-1A3D2A4707F1}"/>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99" name="ee4p_icon_frame_left">
                <a:extLst>
                  <a:ext uri="{FF2B5EF4-FFF2-40B4-BE49-F238E27FC236}">
                    <a16:creationId xmlns:a16="http://schemas.microsoft.com/office/drawing/2014/main" id="{8531C8C8-C1B9-1E5F-B23B-8FECB802CC23}"/>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100" name="ee4p_icon_frame_right">
                <a:extLst>
                  <a:ext uri="{FF2B5EF4-FFF2-40B4-BE49-F238E27FC236}">
                    <a16:creationId xmlns:a16="http://schemas.microsoft.com/office/drawing/2014/main" id="{9FB3E453-546B-9CD3-AB87-199B3A68A629}"/>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96" name="ee4p_icon">
              <a:extLst>
                <a:ext uri="{FF2B5EF4-FFF2-40B4-BE49-F238E27FC236}">
                  <a16:creationId xmlns:a16="http://schemas.microsoft.com/office/drawing/2014/main" id="{069CB19B-62C2-86B6-2CCF-0D120B19B4C7}"/>
                </a:ext>
              </a:extLst>
            </p:cNvPr>
            <p:cNvSpPr>
              <a:spLocks noChangeAspect="1"/>
            </p:cNvSpPr>
            <p:nvPr/>
          </p:nvSpPr>
          <p:spPr>
            <a:xfrm>
              <a:off x="4083981" y="2922253"/>
              <a:ext cx="975774" cy="1014665"/>
            </a:xfrm>
            <a:custGeom>
              <a:avLst/>
              <a:gdLst>
                <a:gd name="connsiteX0" fmla="*/ 157311 w 975774"/>
                <a:gd name="connsiteY0" fmla="*/ 857402 h 1014665"/>
                <a:gd name="connsiteX1" fmla="*/ 286749 w 975774"/>
                <a:gd name="connsiteY1" fmla="*/ 948842 h 1014665"/>
                <a:gd name="connsiteX2" fmla="*/ 278045 w 975774"/>
                <a:gd name="connsiteY2" fmla="*/ 967334 h 1014665"/>
                <a:gd name="connsiteX3" fmla="*/ 0 w 975774"/>
                <a:gd name="connsiteY3" fmla="*/ 526694 h 1014665"/>
                <a:gd name="connsiteX4" fmla="*/ 20320 w 975774"/>
                <a:gd name="connsiteY4" fmla="*/ 526694 h 1014665"/>
                <a:gd name="connsiteX5" fmla="*/ 157311 w 975774"/>
                <a:gd name="connsiteY5" fmla="*/ 857402 h 1014665"/>
                <a:gd name="connsiteX6" fmla="*/ 168351 w 975774"/>
                <a:gd name="connsiteY6" fmla="*/ 157920 h 1014665"/>
                <a:gd name="connsiteX7" fmla="*/ 188434 w 975774"/>
                <a:gd name="connsiteY7" fmla="*/ 2608 h 1014665"/>
                <a:gd name="connsiteX8" fmla="*/ 168114 w 975774"/>
                <a:gd name="connsiteY8" fmla="*/ 0 h 1014665"/>
                <a:gd name="connsiteX9" fmla="*/ 144949 w 975774"/>
                <a:gd name="connsiteY9" fmla="*/ 179493 h 1014665"/>
                <a:gd name="connsiteX10" fmla="*/ 142816 w 975774"/>
                <a:gd name="connsiteY10" fmla="*/ 181559 h 1014665"/>
                <a:gd name="connsiteX11" fmla="*/ 144475 w 975774"/>
                <a:gd name="connsiteY11" fmla="*/ 183219 h 1014665"/>
                <a:gd name="connsiteX12" fmla="*/ 143967 w 975774"/>
                <a:gd name="connsiteY12" fmla="*/ 187181 h 1014665"/>
                <a:gd name="connsiteX13" fmla="*/ 152739 w 975774"/>
                <a:gd name="connsiteY13" fmla="*/ 198560 h 1014665"/>
                <a:gd name="connsiteX14" fmla="*/ 339920 w 975774"/>
                <a:gd name="connsiteY14" fmla="*/ 222741 h 1014665"/>
                <a:gd name="connsiteX15" fmla="*/ 342527 w 975774"/>
                <a:gd name="connsiteY15" fmla="*/ 202421 h 1014665"/>
                <a:gd name="connsiteX16" fmla="*/ 173194 w 975774"/>
                <a:gd name="connsiteY16" fmla="*/ 180543 h 1014665"/>
                <a:gd name="connsiteX17" fmla="*/ 818727 w 975774"/>
                <a:gd name="connsiteY17" fmla="*/ 195986 h 1014665"/>
                <a:gd name="connsiteX18" fmla="*/ 818727 w 975774"/>
                <a:gd name="connsiteY18" fmla="*/ 857402 h 1014665"/>
                <a:gd name="connsiteX19" fmla="*/ 406332 w 975774"/>
                <a:gd name="connsiteY19" fmla="*/ 987247 h 1014665"/>
                <a:gd name="connsiteX20" fmla="*/ 402946 w 975774"/>
                <a:gd name="connsiteY20" fmla="*/ 1007262 h 1014665"/>
                <a:gd name="connsiteX21" fmla="*/ 833052 w 975774"/>
                <a:gd name="connsiteY21" fmla="*/ 871796 h 1014665"/>
                <a:gd name="connsiteX22" fmla="*/ 833052 w 975774"/>
                <a:gd name="connsiteY22" fmla="*/ 181627 h 1014665"/>
                <a:gd name="connsiteX23" fmla="*/ 168351 w 975774"/>
                <a:gd name="connsiteY23" fmla="*/ 157920 h 1014665"/>
                <a:gd name="connsiteX24" fmla="*/ 513215 w 975774"/>
                <a:gd name="connsiteY24" fmla="*/ 552704 h 1014665"/>
                <a:gd name="connsiteX25" fmla="*/ 513215 w 975774"/>
                <a:gd name="connsiteY25" fmla="*/ 268800 h 1014665"/>
                <a:gd name="connsiteX26" fmla="*/ 492895 w 975774"/>
                <a:gd name="connsiteY26" fmla="*/ 268800 h 1014665"/>
                <a:gd name="connsiteX27" fmla="*/ 492895 w 975774"/>
                <a:gd name="connsiteY27" fmla="*/ 542544 h 1014665"/>
                <a:gd name="connsiteX28" fmla="*/ 282380 w 975774"/>
                <a:gd name="connsiteY28" fmla="*/ 542544 h 1014665"/>
                <a:gd name="connsiteX29" fmla="*/ 282380 w 975774"/>
                <a:gd name="connsiteY29" fmla="*/ 562864 h 1014665"/>
                <a:gd name="connsiteX30" fmla="*/ 503055 w 975774"/>
                <a:gd name="connsiteY30" fmla="*/ 562864 h 1014665"/>
                <a:gd name="connsiteX31" fmla="*/ 513215 w 975774"/>
                <a:gd name="connsiteY31" fmla="*/ 552704 h 101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75774" h="1014665">
                  <a:moveTo>
                    <a:pt x="157311" y="857402"/>
                  </a:moveTo>
                  <a:cubicBezTo>
                    <a:pt x="194928" y="895039"/>
                    <a:pt x="238705" y="925966"/>
                    <a:pt x="286749" y="948842"/>
                  </a:cubicBezTo>
                  <a:lnTo>
                    <a:pt x="278045" y="967334"/>
                  </a:lnTo>
                  <a:cubicBezTo>
                    <a:pt x="108264" y="886230"/>
                    <a:pt x="125" y="714854"/>
                    <a:pt x="0" y="526694"/>
                  </a:cubicBezTo>
                  <a:lnTo>
                    <a:pt x="20320" y="526694"/>
                  </a:lnTo>
                  <a:cubicBezTo>
                    <a:pt x="19997" y="650799"/>
                    <a:pt x="69323" y="769877"/>
                    <a:pt x="157311" y="857402"/>
                  </a:cubicBezTo>
                  <a:close/>
                  <a:moveTo>
                    <a:pt x="168351" y="157920"/>
                  </a:moveTo>
                  <a:lnTo>
                    <a:pt x="188434" y="2608"/>
                  </a:lnTo>
                  <a:lnTo>
                    <a:pt x="168114" y="0"/>
                  </a:lnTo>
                  <a:lnTo>
                    <a:pt x="144949" y="179493"/>
                  </a:lnTo>
                  <a:lnTo>
                    <a:pt x="142816" y="181559"/>
                  </a:lnTo>
                  <a:lnTo>
                    <a:pt x="144475" y="183219"/>
                  </a:lnTo>
                  <a:lnTo>
                    <a:pt x="143967" y="187181"/>
                  </a:lnTo>
                  <a:cubicBezTo>
                    <a:pt x="143248" y="192745"/>
                    <a:pt x="147174" y="197840"/>
                    <a:pt x="152739" y="198560"/>
                  </a:cubicBezTo>
                  <a:lnTo>
                    <a:pt x="339920" y="222741"/>
                  </a:lnTo>
                  <a:lnTo>
                    <a:pt x="342527" y="202421"/>
                  </a:lnTo>
                  <a:lnTo>
                    <a:pt x="173194" y="180543"/>
                  </a:lnTo>
                  <a:cubicBezTo>
                    <a:pt x="356616" y="13784"/>
                    <a:pt x="641604" y="18864"/>
                    <a:pt x="818727" y="195986"/>
                  </a:cubicBezTo>
                  <a:cubicBezTo>
                    <a:pt x="1001099" y="378325"/>
                    <a:pt x="1001099" y="675030"/>
                    <a:pt x="818727" y="857402"/>
                  </a:cubicBezTo>
                  <a:cubicBezTo>
                    <a:pt x="710641" y="965312"/>
                    <a:pt x="556744" y="1013765"/>
                    <a:pt x="406332" y="987247"/>
                  </a:cubicBezTo>
                  <a:lnTo>
                    <a:pt x="402946" y="1007262"/>
                  </a:lnTo>
                  <a:cubicBezTo>
                    <a:pt x="559823" y="1034864"/>
                    <a:pt x="720310" y="984314"/>
                    <a:pt x="833052" y="871796"/>
                  </a:cubicBezTo>
                  <a:cubicBezTo>
                    <a:pt x="1023349" y="681533"/>
                    <a:pt x="1023349" y="371924"/>
                    <a:pt x="833052" y="181627"/>
                  </a:cubicBezTo>
                  <a:cubicBezTo>
                    <a:pt x="651087" y="-406"/>
                    <a:pt x="359867" y="-8297"/>
                    <a:pt x="168351" y="157920"/>
                  </a:cubicBezTo>
                  <a:close/>
                  <a:moveTo>
                    <a:pt x="513215" y="552704"/>
                  </a:moveTo>
                  <a:lnTo>
                    <a:pt x="513215" y="268800"/>
                  </a:lnTo>
                  <a:lnTo>
                    <a:pt x="492895" y="268800"/>
                  </a:lnTo>
                  <a:lnTo>
                    <a:pt x="492895" y="542544"/>
                  </a:lnTo>
                  <a:lnTo>
                    <a:pt x="282380" y="542544"/>
                  </a:lnTo>
                  <a:lnTo>
                    <a:pt x="282380" y="562864"/>
                  </a:lnTo>
                  <a:lnTo>
                    <a:pt x="503055" y="562864"/>
                  </a:lnTo>
                  <a:cubicBezTo>
                    <a:pt x="508667" y="562864"/>
                    <a:pt x="513215" y="558316"/>
                    <a:pt x="513215" y="552704"/>
                  </a:cubicBezTo>
                  <a:close/>
                </a:path>
              </a:pathLst>
            </a:custGeom>
            <a:solidFill>
              <a:srgbClr val="000000"/>
            </a:solidFill>
            <a:ln w="3365" cap="flat">
              <a:noFill/>
              <a:prstDash val="solid"/>
              <a:miter/>
            </a:ln>
          </p:spPr>
          <p:txBody>
            <a:bodyPr rtlCol="0" anchor="ctr"/>
            <a:lstStyle/>
            <a:p>
              <a:endParaRPr lang="en-US"/>
            </a:p>
          </p:txBody>
        </p:sp>
      </p:grpSp>
      <p:grpSp>
        <p:nvGrpSpPr>
          <p:cNvPr id="101" name="ee4p_icon_group">
            <a:extLst>
              <a:ext uri="{FF2B5EF4-FFF2-40B4-BE49-F238E27FC236}">
                <a16:creationId xmlns:a16="http://schemas.microsoft.com/office/drawing/2014/main" id="{435F6C9A-8188-C7FB-D58D-F21A6A6E6387}"/>
              </a:ext>
            </a:extLst>
          </p:cNvPr>
          <p:cNvGrpSpPr>
            <a:grpSpLocks noChangeAspect="1"/>
          </p:cNvGrpSpPr>
          <p:nvPr/>
        </p:nvGrpSpPr>
        <p:grpSpPr>
          <a:xfrm>
            <a:off x="6821160" y="2612813"/>
            <a:ext cx="425619" cy="432929"/>
            <a:chOff x="4032000" y="2917743"/>
            <a:chExt cx="1080000" cy="1098550"/>
          </a:xfrm>
        </p:grpSpPr>
        <p:grpSp>
          <p:nvGrpSpPr>
            <p:cNvPr id="102" name="ee4p_icon_frame">
              <a:extLst>
                <a:ext uri="{FF2B5EF4-FFF2-40B4-BE49-F238E27FC236}">
                  <a16:creationId xmlns:a16="http://schemas.microsoft.com/office/drawing/2014/main" id="{204211BE-B625-B811-69B6-662FDFA86D14}"/>
                </a:ext>
              </a:extLst>
            </p:cNvPr>
            <p:cNvGrpSpPr>
              <a:grpSpLocks noChangeAspect="1"/>
            </p:cNvGrpSpPr>
            <p:nvPr/>
          </p:nvGrpSpPr>
          <p:grpSpPr>
            <a:xfrm>
              <a:off x="4032000" y="2917743"/>
              <a:ext cx="1080000" cy="1098550"/>
              <a:chOff x="4737100" y="1701800"/>
              <a:chExt cx="1098550" cy="1098550"/>
            </a:xfrm>
            <a:solidFill>
              <a:schemeClr val="accent3"/>
            </a:solidFill>
          </p:grpSpPr>
          <p:cxnSp>
            <p:nvCxnSpPr>
              <p:cNvPr id="104" name="ee4p_icon_frame_top">
                <a:extLst>
                  <a:ext uri="{FF2B5EF4-FFF2-40B4-BE49-F238E27FC236}">
                    <a16:creationId xmlns:a16="http://schemas.microsoft.com/office/drawing/2014/main" id="{74880273-73BE-8606-C437-4F3C5A119D8B}"/>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105" name="ee4p_icon_frame_bottom">
                <a:extLst>
                  <a:ext uri="{FF2B5EF4-FFF2-40B4-BE49-F238E27FC236}">
                    <a16:creationId xmlns:a16="http://schemas.microsoft.com/office/drawing/2014/main" id="{343E07E7-2250-91AB-4932-1D880981AC6A}"/>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107" name="ee4p_icon_frame_left">
                <a:extLst>
                  <a:ext uri="{FF2B5EF4-FFF2-40B4-BE49-F238E27FC236}">
                    <a16:creationId xmlns:a16="http://schemas.microsoft.com/office/drawing/2014/main" id="{26574AA7-2FC1-F162-1391-68650D78CEBF}"/>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108" name="ee4p_icon_frame_right">
                <a:extLst>
                  <a:ext uri="{FF2B5EF4-FFF2-40B4-BE49-F238E27FC236}">
                    <a16:creationId xmlns:a16="http://schemas.microsoft.com/office/drawing/2014/main" id="{365A5869-193F-4159-B7ED-431354D98CE1}"/>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103" name="ee4p_icon">
              <a:extLst>
                <a:ext uri="{FF2B5EF4-FFF2-40B4-BE49-F238E27FC236}">
                  <a16:creationId xmlns:a16="http://schemas.microsoft.com/office/drawing/2014/main" id="{5A49A038-C758-FF87-996C-BE3C889A11CA}"/>
                </a:ext>
              </a:extLst>
            </p:cNvPr>
            <p:cNvSpPr>
              <a:spLocks noChangeAspect="1"/>
            </p:cNvSpPr>
            <p:nvPr/>
          </p:nvSpPr>
          <p:spPr>
            <a:xfrm>
              <a:off x="4125674" y="2921421"/>
              <a:ext cx="892651" cy="1015172"/>
            </a:xfrm>
            <a:custGeom>
              <a:avLst/>
              <a:gdLst>
                <a:gd name="connsiteX0" fmla="*/ 611527 w 892651"/>
                <a:gd name="connsiteY0" fmla="*/ 291171 h 1015172"/>
                <a:gd name="connsiteX1" fmla="*/ 596762 w 892651"/>
                <a:gd name="connsiteY1" fmla="*/ 305124 h 1015172"/>
                <a:gd name="connsiteX2" fmla="*/ 842295 w 892651"/>
                <a:gd name="connsiteY2" fmla="*/ 641386 h 1015172"/>
                <a:gd name="connsiteX3" fmla="*/ 837486 w 892651"/>
                <a:gd name="connsiteY3" fmla="*/ 887800 h 1015172"/>
                <a:gd name="connsiteX4" fmla="*/ 656570 w 892651"/>
                <a:gd name="connsiteY4" fmla="*/ 994852 h 1015172"/>
                <a:gd name="connsiteX5" fmla="*/ 236082 w 892651"/>
                <a:gd name="connsiteY5" fmla="*/ 994852 h 1015172"/>
                <a:gd name="connsiteX6" fmla="*/ 55166 w 892651"/>
                <a:gd name="connsiteY6" fmla="*/ 887800 h 1015172"/>
                <a:gd name="connsiteX7" fmla="*/ 50357 w 892651"/>
                <a:gd name="connsiteY7" fmla="*/ 641386 h 1015172"/>
                <a:gd name="connsiteX8" fmla="*/ 292842 w 892651"/>
                <a:gd name="connsiteY8" fmla="*/ 308341 h 1015172"/>
                <a:gd name="connsiteX9" fmla="*/ 488930 w 892651"/>
                <a:gd name="connsiteY9" fmla="*/ 308341 h 1015172"/>
                <a:gd name="connsiteX10" fmla="*/ 488930 w 892651"/>
                <a:gd name="connsiteY10" fmla="*/ 288021 h 1015172"/>
                <a:gd name="connsiteX11" fmla="*/ 312383 w 892651"/>
                <a:gd name="connsiteY11" fmla="*/ 288021 h 1015172"/>
                <a:gd name="connsiteX12" fmla="*/ 354954 w 892651"/>
                <a:gd name="connsiteY12" fmla="*/ 246534 h 1015172"/>
                <a:gd name="connsiteX13" fmla="*/ 541660 w 892651"/>
                <a:gd name="connsiteY13" fmla="*/ 246534 h 1015172"/>
                <a:gd name="connsiteX14" fmla="*/ 550093 w 892651"/>
                <a:gd name="connsiteY14" fmla="*/ 242030 h 1015172"/>
                <a:gd name="connsiteX15" fmla="*/ 651693 w 892651"/>
                <a:gd name="connsiteY15" fmla="*/ 97555 h 1015172"/>
                <a:gd name="connsiteX16" fmla="*/ 655554 w 892651"/>
                <a:gd name="connsiteY16" fmla="*/ 84008 h 1015172"/>
                <a:gd name="connsiteX17" fmla="*/ 581217 w 892651"/>
                <a:gd name="connsiteY17" fmla="*/ 32971 h 1015172"/>
                <a:gd name="connsiteX18" fmla="*/ 446326 w 892651"/>
                <a:gd name="connsiteY18" fmla="*/ 121 h 1015172"/>
                <a:gd name="connsiteX19" fmla="*/ 311401 w 892651"/>
                <a:gd name="connsiteY19" fmla="*/ 33039 h 1015172"/>
                <a:gd name="connsiteX20" fmla="*/ 236894 w 892651"/>
                <a:gd name="connsiteY20" fmla="*/ 84076 h 1015172"/>
                <a:gd name="connsiteX21" fmla="*/ 240755 w 892651"/>
                <a:gd name="connsiteY21" fmla="*/ 97623 h 1015172"/>
                <a:gd name="connsiteX22" fmla="*/ 337546 w 892651"/>
                <a:gd name="connsiteY22" fmla="*/ 234918 h 1015172"/>
                <a:gd name="connsiteX23" fmla="*/ 32509 w 892651"/>
                <a:gd name="connsiteY23" fmla="*/ 631666 h 1015172"/>
                <a:gd name="connsiteX24" fmla="*/ 37691 w 892651"/>
                <a:gd name="connsiteY24" fmla="*/ 898197 h 1015172"/>
                <a:gd name="connsiteX25" fmla="*/ 236082 w 892651"/>
                <a:gd name="connsiteY25" fmla="*/ 1015172 h 1015172"/>
                <a:gd name="connsiteX26" fmla="*/ 656570 w 892651"/>
                <a:gd name="connsiteY26" fmla="*/ 1015172 h 1015172"/>
                <a:gd name="connsiteX27" fmla="*/ 854961 w 892651"/>
                <a:gd name="connsiteY27" fmla="*/ 898197 h 1015172"/>
                <a:gd name="connsiteX28" fmla="*/ 860143 w 892651"/>
                <a:gd name="connsiteY28" fmla="*/ 631666 h 1015172"/>
                <a:gd name="connsiteX29" fmla="*/ 611527 w 892651"/>
                <a:gd name="connsiteY29" fmla="*/ 291171 h 1015172"/>
                <a:gd name="connsiteX30" fmla="*/ 259314 w 892651"/>
                <a:gd name="connsiteY30" fmla="*/ 87971 h 1015172"/>
                <a:gd name="connsiteX31" fmla="*/ 365249 w 892651"/>
                <a:gd name="connsiteY31" fmla="*/ 33784 h 1015172"/>
                <a:gd name="connsiteX32" fmla="*/ 390175 w 892651"/>
                <a:gd name="connsiteY32" fmla="*/ 141819 h 1015172"/>
                <a:gd name="connsiteX33" fmla="*/ 409953 w 892651"/>
                <a:gd name="connsiteY33" fmla="*/ 137247 h 1015172"/>
                <a:gd name="connsiteX34" fmla="*/ 384689 w 892651"/>
                <a:gd name="connsiteY34" fmla="*/ 27993 h 1015172"/>
                <a:gd name="connsiteX35" fmla="*/ 445919 w 892651"/>
                <a:gd name="connsiteY35" fmla="*/ 20441 h 1015172"/>
                <a:gd name="connsiteX36" fmla="*/ 446732 w 892651"/>
                <a:gd name="connsiteY36" fmla="*/ 20441 h 1015172"/>
                <a:gd name="connsiteX37" fmla="*/ 633439 w 892651"/>
                <a:gd name="connsiteY37" fmla="*/ 87835 h 1015172"/>
                <a:gd name="connsiteX38" fmla="*/ 536242 w 892651"/>
                <a:gd name="connsiteY38" fmla="*/ 226214 h 1015172"/>
                <a:gd name="connsiteX39" fmla="*/ 476806 w 892651"/>
                <a:gd name="connsiteY39" fmla="*/ 226214 h 1015172"/>
                <a:gd name="connsiteX40" fmla="*/ 518360 w 892651"/>
                <a:gd name="connsiteY40" fmla="*/ 124276 h 1015172"/>
                <a:gd name="connsiteX41" fmla="*/ 499564 w 892651"/>
                <a:gd name="connsiteY41" fmla="*/ 116588 h 1015172"/>
                <a:gd name="connsiteX42" fmla="*/ 454860 w 892651"/>
                <a:gd name="connsiteY42" fmla="*/ 226214 h 1015172"/>
                <a:gd name="connsiteX43" fmla="*/ 356410 w 892651"/>
                <a:gd name="connsiteY43" fmla="*/ 226214 h 1015172"/>
                <a:gd name="connsiteX44" fmla="*/ 259212 w 892651"/>
                <a:gd name="connsiteY44" fmla="*/ 87835 h 1015172"/>
                <a:gd name="connsiteX45" fmla="*/ 386585 w 892651"/>
                <a:gd name="connsiteY45" fmla="*/ 548219 h 1015172"/>
                <a:gd name="connsiteX46" fmla="*/ 446326 w 892651"/>
                <a:gd name="connsiteY46" fmla="*/ 607858 h 1015172"/>
                <a:gd name="connsiteX47" fmla="*/ 526156 w 892651"/>
                <a:gd name="connsiteY47" fmla="*/ 688149 h 1015172"/>
                <a:gd name="connsiteX48" fmla="*/ 456486 w 892651"/>
                <a:gd name="connsiteY48" fmla="*/ 767302 h 1015172"/>
                <a:gd name="connsiteX49" fmla="*/ 456486 w 892651"/>
                <a:gd name="connsiteY49" fmla="*/ 815190 h 1015172"/>
                <a:gd name="connsiteX50" fmla="*/ 436166 w 892651"/>
                <a:gd name="connsiteY50" fmla="*/ 815190 h 1015172"/>
                <a:gd name="connsiteX51" fmla="*/ 436166 w 892651"/>
                <a:gd name="connsiteY51" fmla="*/ 767302 h 1015172"/>
                <a:gd name="connsiteX52" fmla="*/ 366265 w 892651"/>
                <a:gd name="connsiteY52" fmla="*/ 687919 h 1015172"/>
                <a:gd name="connsiteX53" fmla="*/ 386585 w 892651"/>
                <a:gd name="connsiteY53" fmla="*/ 687919 h 1015172"/>
                <a:gd name="connsiteX54" fmla="*/ 446326 w 892651"/>
                <a:gd name="connsiteY54" fmla="*/ 747659 h 1015172"/>
                <a:gd name="connsiteX55" fmla="*/ 506067 w 892651"/>
                <a:gd name="connsiteY55" fmla="*/ 687919 h 1015172"/>
                <a:gd name="connsiteX56" fmla="*/ 446326 w 892651"/>
                <a:gd name="connsiteY56" fmla="*/ 628178 h 1015172"/>
                <a:gd name="connsiteX57" fmla="*/ 366235 w 892651"/>
                <a:gd name="connsiteY57" fmla="*/ 548148 h 1015172"/>
                <a:gd name="connsiteX58" fmla="*/ 436166 w 892651"/>
                <a:gd name="connsiteY58" fmla="*/ 468700 h 1015172"/>
                <a:gd name="connsiteX59" fmla="*/ 436166 w 892651"/>
                <a:gd name="connsiteY59" fmla="*/ 420812 h 1015172"/>
                <a:gd name="connsiteX60" fmla="*/ 456486 w 892651"/>
                <a:gd name="connsiteY60" fmla="*/ 420812 h 1015172"/>
                <a:gd name="connsiteX61" fmla="*/ 456486 w 892651"/>
                <a:gd name="connsiteY61" fmla="*/ 468700 h 1015172"/>
                <a:gd name="connsiteX62" fmla="*/ 526387 w 892651"/>
                <a:gd name="connsiteY62" fmla="*/ 548219 h 1015172"/>
                <a:gd name="connsiteX63" fmla="*/ 506067 w 892651"/>
                <a:gd name="connsiteY63" fmla="*/ 548219 h 1015172"/>
                <a:gd name="connsiteX64" fmla="*/ 446326 w 892651"/>
                <a:gd name="connsiteY64" fmla="*/ 488478 h 1015172"/>
                <a:gd name="connsiteX65" fmla="*/ 386585 w 892651"/>
                <a:gd name="connsiteY65" fmla="*/ 548219 h 101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892651" h="1015172">
                  <a:moveTo>
                    <a:pt x="611527" y="291171"/>
                  </a:moveTo>
                  <a:lnTo>
                    <a:pt x="596762" y="305124"/>
                  </a:lnTo>
                  <a:cubicBezTo>
                    <a:pt x="690267" y="403811"/>
                    <a:pt x="779642" y="526341"/>
                    <a:pt x="842295" y="641386"/>
                  </a:cubicBezTo>
                  <a:cubicBezTo>
                    <a:pt x="884049" y="718676"/>
                    <a:pt x="882224" y="812199"/>
                    <a:pt x="837486" y="887800"/>
                  </a:cubicBezTo>
                  <a:cubicBezTo>
                    <a:pt x="797659" y="954822"/>
                    <a:pt x="730027" y="994852"/>
                    <a:pt x="656570" y="994852"/>
                  </a:cubicBezTo>
                  <a:lnTo>
                    <a:pt x="236082" y="994852"/>
                  </a:lnTo>
                  <a:cubicBezTo>
                    <a:pt x="162625" y="994852"/>
                    <a:pt x="94993" y="954822"/>
                    <a:pt x="55166" y="887800"/>
                  </a:cubicBezTo>
                  <a:cubicBezTo>
                    <a:pt x="10428" y="812199"/>
                    <a:pt x="8603" y="718676"/>
                    <a:pt x="50357" y="641386"/>
                  </a:cubicBezTo>
                  <a:cubicBezTo>
                    <a:pt x="113450" y="525359"/>
                    <a:pt x="200894" y="405775"/>
                    <a:pt x="292842" y="308341"/>
                  </a:cubicBezTo>
                  <a:lnTo>
                    <a:pt x="488930" y="308341"/>
                  </a:lnTo>
                  <a:lnTo>
                    <a:pt x="488930" y="288021"/>
                  </a:lnTo>
                  <a:lnTo>
                    <a:pt x="312383" y="288021"/>
                  </a:lnTo>
                  <a:cubicBezTo>
                    <a:pt x="326516" y="273594"/>
                    <a:pt x="340706" y="259765"/>
                    <a:pt x="354954" y="246534"/>
                  </a:cubicBezTo>
                  <a:lnTo>
                    <a:pt x="541660" y="246534"/>
                  </a:lnTo>
                  <a:cubicBezTo>
                    <a:pt x="545047" y="246532"/>
                    <a:pt x="548207" y="244843"/>
                    <a:pt x="550093" y="242030"/>
                  </a:cubicBezTo>
                  <a:cubicBezTo>
                    <a:pt x="593747" y="177108"/>
                    <a:pt x="644107" y="104599"/>
                    <a:pt x="651693" y="97555"/>
                  </a:cubicBezTo>
                  <a:cubicBezTo>
                    <a:pt x="655845" y="94397"/>
                    <a:pt x="657417" y="88880"/>
                    <a:pt x="655554" y="84008"/>
                  </a:cubicBezTo>
                  <a:cubicBezTo>
                    <a:pt x="650610" y="69683"/>
                    <a:pt x="608378" y="45637"/>
                    <a:pt x="581217" y="32971"/>
                  </a:cubicBezTo>
                  <a:cubicBezTo>
                    <a:pt x="553141" y="19899"/>
                    <a:pt x="498379" y="-1776"/>
                    <a:pt x="446326" y="121"/>
                  </a:cubicBezTo>
                  <a:cubicBezTo>
                    <a:pt x="394374" y="-1810"/>
                    <a:pt x="339510" y="19899"/>
                    <a:pt x="311401" y="33039"/>
                  </a:cubicBezTo>
                  <a:cubicBezTo>
                    <a:pt x="284308" y="45705"/>
                    <a:pt x="242008" y="69750"/>
                    <a:pt x="236894" y="84076"/>
                  </a:cubicBezTo>
                  <a:cubicBezTo>
                    <a:pt x="235033" y="88948"/>
                    <a:pt x="236605" y="94464"/>
                    <a:pt x="240755" y="97623"/>
                  </a:cubicBezTo>
                  <a:cubicBezTo>
                    <a:pt x="248104" y="104396"/>
                    <a:pt x="294942" y="171926"/>
                    <a:pt x="337546" y="234918"/>
                  </a:cubicBezTo>
                  <a:cubicBezTo>
                    <a:pt x="223585" y="341632"/>
                    <a:pt x="109928" y="489291"/>
                    <a:pt x="32509" y="631666"/>
                  </a:cubicBezTo>
                  <a:cubicBezTo>
                    <a:pt x="-12615" y="715273"/>
                    <a:pt x="-10649" y="816405"/>
                    <a:pt x="37691" y="898197"/>
                  </a:cubicBezTo>
                  <a:cubicBezTo>
                    <a:pt x="81243" y="971552"/>
                    <a:pt x="155411" y="1015172"/>
                    <a:pt x="236082" y="1015172"/>
                  </a:cubicBezTo>
                  <a:lnTo>
                    <a:pt x="656570" y="1015172"/>
                  </a:lnTo>
                  <a:cubicBezTo>
                    <a:pt x="737240" y="1015172"/>
                    <a:pt x="811408" y="971417"/>
                    <a:pt x="854961" y="898197"/>
                  </a:cubicBezTo>
                  <a:cubicBezTo>
                    <a:pt x="903299" y="816405"/>
                    <a:pt x="905267" y="715273"/>
                    <a:pt x="860143" y="631666"/>
                  </a:cubicBezTo>
                  <a:cubicBezTo>
                    <a:pt x="796812" y="515165"/>
                    <a:pt x="706185" y="391043"/>
                    <a:pt x="611527" y="291171"/>
                  </a:cubicBezTo>
                  <a:close/>
                  <a:moveTo>
                    <a:pt x="259314" y="87971"/>
                  </a:moveTo>
                  <a:cubicBezTo>
                    <a:pt x="271980" y="76422"/>
                    <a:pt x="315499" y="49938"/>
                    <a:pt x="365249" y="33784"/>
                  </a:cubicBezTo>
                  <a:lnTo>
                    <a:pt x="390175" y="141819"/>
                  </a:lnTo>
                  <a:lnTo>
                    <a:pt x="409953" y="137247"/>
                  </a:lnTo>
                  <a:lnTo>
                    <a:pt x="384689" y="27993"/>
                  </a:lnTo>
                  <a:cubicBezTo>
                    <a:pt x="404633" y="22556"/>
                    <a:pt x="425254" y="20012"/>
                    <a:pt x="445919" y="20441"/>
                  </a:cubicBezTo>
                  <a:lnTo>
                    <a:pt x="446732" y="20441"/>
                  </a:lnTo>
                  <a:cubicBezTo>
                    <a:pt x="522356" y="17494"/>
                    <a:pt x="614067" y="70157"/>
                    <a:pt x="633439" y="87835"/>
                  </a:cubicBezTo>
                  <a:cubicBezTo>
                    <a:pt x="614135" y="111237"/>
                    <a:pt x="562489" y="187268"/>
                    <a:pt x="536242" y="226214"/>
                  </a:cubicBezTo>
                  <a:lnTo>
                    <a:pt x="476806" y="226214"/>
                  </a:lnTo>
                  <a:lnTo>
                    <a:pt x="518360" y="124276"/>
                  </a:lnTo>
                  <a:lnTo>
                    <a:pt x="499564" y="116588"/>
                  </a:lnTo>
                  <a:lnTo>
                    <a:pt x="454860" y="226214"/>
                  </a:lnTo>
                  <a:lnTo>
                    <a:pt x="356410" y="226214"/>
                  </a:lnTo>
                  <a:cubicBezTo>
                    <a:pt x="330163" y="187268"/>
                    <a:pt x="278516" y="111339"/>
                    <a:pt x="259212" y="87835"/>
                  </a:cubicBezTo>
                  <a:close/>
                  <a:moveTo>
                    <a:pt x="386585" y="548219"/>
                  </a:moveTo>
                  <a:cubicBezTo>
                    <a:pt x="386680" y="581157"/>
                    <a:pt x="413387" y="607821"/>
                    <a:pt x="446326" y="607858"/>
                  </a:cubicBezTo>
                  <a:cubicBezTo>
                    <a:pt x="490542" y="607983"/>
                    <a:pt x="526285" y="643933"/>
                    <a:pt x="526156" y="688149"/>
                  </a:cubicBezTo>
                  <a:cubicBezTo>
                    <a:pt x="526041" y="728261"/>
                    <a:pt x="496259" y="762097"/>
                    <a:pt x="456486" y="767302"/>
                  </a:cubicBezTo>
                  <a:lnTo>
                    <a:pt x="456486" y="815190"/>
                  </a:lnTo>
                  <a:lnTo>
                    <a:pt x="436166" y="815190"/>
                  </a:lnTo>
                  <a:lnTo>
                    <a:pt x="436166" y="767302"/>
                  </a:lnTo>
                  <a:cubicBezTo>
                    <a:pt x="396237" y="762148"/>
                    <a:pt x="366326" y="728179"/>
                    <a:pt x="366265" y="687919"/>
                  </a:cubicBezTo>
                  <a:lnTo>
                    <a:pt x="386585" y="687919"/>
                  </a:lnTo>
                  <a:cubicBezTo>
                    <a:pt x="386585" y="720912"/>
                    <a:pt x="413333" y="747659"/>
                    <a:pt x="446326" y="747659"/>
                  </a:cubicBezTo>
                  <a:cubicBezTo>
                    <a:pt x="479319" y="747659"/>
                    <a:pt x="506067" y="720912"/>
                    <a:pt x="506067" y="687919"/>
                  </a:cubicBezTo>
                  <a:cubicBezTo>
                    <a:pt x="506067" y="654926"/>
                    <a:pt x="479319" y="628178"/>
                    <a:pt x="446326" y="628178"/>
                  </a:cubicBezTo>
                  <a:cubicBezTo>
                    <a:pt x="402110" y="628195"/>
                    <a:pt x="366251" y="592364"/>
                    <a:pt x="366235" y="548148"/>
                  </a:cubicBezTo>
                  <a:cubicBezTo>
                    <a:pt x="366221" y="507836"/>
                    <a:pt x="396179" y="473800"/>
                    <a:pt x="436166" y="468700"/>
                  </a:cubicBezTo>
                  <a:lnTo>
                    <a:pt x="436166" y="420812"/>
                  </a:lnTo>
                  <a:lnTo>
                    <a:pt x="456486" y="420812"/>
                  </a:lnTo>
                  <a:lnTo>
                    <a:pt x="456486" y="468700"/>
                  </a:lnTo>
                  <a:cubicBezTo>
                    <a:pt x="496459" y="473875"/>
                    <a:pt x="526380" y="507914"/>
                    <a:pt x="526387" y="548219"/>
                  </a:cubicBezTo>
                  <a:lnTo>
                    <a:pt x="506067" y="548219"/>
                  </a:lnTo>
                  <a:cubicBezTo>
                    <a:pt x="506067" y="515226"/>
                    <a:pt x="479319" y="488478"/>
                    <a:pt x="446326" y="488478"/>
                  </a:cubicBezTo>
                  <a:cubicBezTo>
                    <a:pt x="413333" y="488478"/>
                    <a:pt x="386585" y="515226"/>
                    <a:pt x="386585" y="548219"/>
                  </a:cubicBezTo>
                  <a:close/>
                </a:path>
              </a:pathLst>
            </a:custGeom>
            <a:solidFill>
              <a:srgbClr val="000000"/>
            </a:solidFill>
            <a:ln w="3365" cap="flat">
              <a:noFill/>
              <a:prstDash val="solid"/>
              <a:miter/>
            </a:ln>
          </p:spPr>
          <p:txBody>
            <a:bodyPr rtlCol="0" anchor="ctr"/>
            <a:lstStyle/>
            <a:p>
              <a:endParaRPr lang="en-US"/>
            </a:p>
          </p:txBody>
        </p:sp>
      </p:grpSp>
      <p:grpSp>
        <p:nvGrpSpPr>
          <p:cNvPr id="109" name="ee4p_icon_group">
            <a:extLst>
              <a:ext uri="{FF2B5EF4-FFF2-40B4-BE49-F238E27FC236}">
                <a16:creationId xmlns:a16="http://schemas.microsoft.com/office/drawing/2014/main" id="{D7239C49-A807-68FB-A649-22DCD3E84C0E}"/>
              </a:ext>
            </a:extLst>
          </p:cNvPr>
          <p:cNvGrpSpPr>
            <a:grpSpLocks noChangeAspect="1"/>
          </p:cNvGrpSpPr>
          <p:nvPr/>
        </p:nvGrpSpPr>
        <p:grpSpPr>
          <a:xfrm>
            <a:off x="6790553" y="4129594"/>
            <a:ext cx="486831" cy="495193"/>
            <a:chOff x="4031981" y="2917732"/>
            <a:chExt cx="1080000" cy="1098550"/>
          </a:xfrm>
        </p:grpSpPr>
        <p:grpSp>
          <p:nvGrpSpPr>
            <p:cNvPr id="110" name="ee4p_icon_frame">
              <a:extLst>
                <a:ext uri="{FF2B5EF4-FFF2-40B4-BE49-F238E27FC236}">
                  <a16:creationId xmlns:a16="http://schemas.microsoft.com/office/drawing/2014/main" id="{4459DFDE-A368-0897-EDF3-692364F56212}"/>
                </a:ext>
              </a:extLst>
            </p:cNvPr>
            <p:cNvGrpSpPr>
              <a:grpSpLocks noChangeAspect="1"/>
            </p:cNvGrpSpPr>
            <p:nvPr/>
          </p:nvGrpSpPr>
          <p:grpSpPr>
            <a:xfrm>
              <a:off x="4031981" y="2917732"/>
              <a:ext cx="1080000" cy="1098550"/>
              <a:chOff x="4737100" y="1701800"/>
              <a:chExt cx="1098550" cy="1098550"/>
            </a:xfrm>
            <a:solidFill>
              <a:schemeClr val="accent3"/>
            </a:solidFill>
          </p:grpSpPr>
          <p:cxnSp>
            <p:nvCxnSpPr>
              <p:cNvPr id="112" name="ee4p_icon_frame_top">
                <a:extLst>
                  <a:ext uri="{FF2B5EF4-FFF2-40B4-BE49-F238E27FC236}">
                    <a16:creationId xmlns:a16="http://schemas.microsoft.com/office/drawing/2014/main" id="{1E4FFC01-C3C0-2C2B-752E-A714DFB0D186}"/>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113" name="ee4p_icon_frame_bottom">
                <a:extLst>
                  <a:ext uri="{FF2B5EF4-FFF2-40B4-BE49-F238E27FC236}">
                    <a16:creationId xmlns:a16="http://schemas.microsoft.com/office/drawing/2014/main" id="{F37BAAAA-93D1-84B8-EA43-0A44CD57204A}"/>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114" name="ee4p_icon_frame_left">
                <a:extLst>
                  <a:ext uri="{FF2B5EF4-FFF2-40B4-BE49-F238E27FC236}">
                    <a16:creationId xmlns:a16="http://schemas.microsoft.com/office/drawing/2014/main" id="{AF9BD5A8-F987-E086-95CD-1608E11953A0}"/>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115" name="ee4p_icon_frame_right">
                <a:extLst>
                  <a:ext uri="{FF2B5EF4-FFF2-40B4-BE49-F238E27FC236}">
                    <a16:creationId xmlns:a16="http://schemas.microsoft.com/office/drawing/2014/main" id="{5BF3B160-6FD8-6369-0D9B-89EA4CFF3408}"/>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111" name="ee4p_icon">
              <a:extLst>
                <a:ext uri="{FF2B5EF4-FFF2-40B4-BE49-F238E27FC236}">
                  <a16:creationId xmlns:a16="http://schemas.microsoft.com/office/drawing/2014/main" id="{1C2CEB66-6E76-573C-1E05-2FB6316065A0}"/>
                </a:ext>
              </a:extLst>
            </p:cNvPr>
            <p:cNvSpPr>
              <a:spLocks noChangeAspect="1"/>
            </p:cNvSpPr>
            <p:nvPr/>
          </p:nvSpPr>
          <p:spPr>
            <a:xfrm>
              <a:off x="4064040" y="3026961"/>
              <a:ext cx="1015882" cy="804069"/>
            </a:xfrm>
            <a:custGeom>
              <a:avLst/>
              <a:gdLst>
                <a:gd name="connsiteX0" fmla="*/ 1011862 w 1015882"/>
                <a:gd name="connsiteY0" fmla="*/ 75293 h 804069"/>
                <a:gd name="connsiteX1" fmla="*/ 914868 w 1015882"/>
                <a:gd name="connsiteY1" fmla="*/ 2073 h 804069"/>
                <a:gd name="connsiteX2" fmla="*/ 900630 w 1015882"/>
                <a:gd name="connsiteY2" fmla="*/ 4011 h 804069"/>
                <a:gd name="connsiteX3" fmla="*/ 900610 w 1015882"/>
                <a:gd name="connsiteY3" fmla="*/ 4038 h 804069"/>
                <a:gd name="connsiteX4" fmla="*/ 752206 w 1015882"/>
                <a:gd name="connsiteY4" fmla="*/ 200464 h 804069"/>
                <a:gd name="connsiteX5" fmla="*/ 768394 w 1015882"/>
                <a:gd name="connsiteY5" fmla="*/ 212724 h 804069"/>
                <a:gd name="connsiteX6" fmla="*/ 853061 w 1015882"/>
                <a:gd name="connsiteY6" fmla="*/ 100558 h 804069"/>
                <a:gd name="connsiteX7" fmla="*/ 884929 w 1015882"/>
                <a:gd name="connsiteY7" fmla="*/ 124603 h 804069"/>
                <a:gd name="connsiteX8" fmla="*/ 496140 w 1015882"/>
                <a:gd name="connsiteY8" fmla="*/ 640528 h 804069"/>
                <a:gd name="connsiteX9" fmla="*/ 463933 w 1015882"/>
                <a:gd name="connsiteY9" fmla="*/ 616178 h 804069"/>
                <a:gd name="connsiteX10" fmla="*/ 717594 w 1015882"/>
                <a:gd name="connsiteY10" fmla="*/ 280119 h 804069"/>
                <a:gd name="connsiteX11" fmla="*/ 701372 w 1015882"/>
                <a:gd name="connsiteY11" fmla="*/ 267893 h 804069"/>
                <a:gd name="connsiteX12" fmla="*/ 441513 w 1015882"/>
                <a:gd name="connsiteY12" fmla="*/ 612012 h 804069"/>
                <a:gd name="connsiteX13" fmla="*/ 439989 w 1015882"/>
                <a:gd name="connsiteY13" fmla="*/ 614925 h 804069"/>
                <a:gd name="connsiteX14" fmla="*/ 388173 w 1015882"/>
                <a:gd name="connsiteY14" fmla="*/ 771693 h 804069"/>
                <a:gd name="connsiteX15" fmla="*/ 33826 w 1015882"/>
                <a:gd name="connsiteY15" fmla="*/ 752728 h 804069"/>
                <a:gd name="connsiteX16" fmla="*/ 20517 w 1015882"/>
                <a:gd name="connsiteY16" fmla="*/ 730105 h 804069"/>
                <a:gd name="connsiteX17" fmla="*/ 222057 w 1015882"/>
                <a:gd name="connsiteY17" fmla="*/ 641476 h 804069"/>
                <a:gd name="connsiteX18" fmla="*/ 421396 w 1015882"/>
                <a:gd name="connsiteY18" fmla="*/ 551458 h 804069"/>
                <a:gd name="connsiteX19" fmla="*/ 403583 w 1015882"/>
                <a:gd name="connsiteY19" fmla="*/ 513799 h 804069"/>
                <a:gd name="connsiteX20" fmla="*/ 99866 w 1015882"/>
                <a:gd name="connsiteY20" fmla="*/ 488399 h 804069"/>
                <a:gd name="connsiteX21" fmla="*/ 102508 w 1015882"/>
                <a:gd name="connsiteY21" fmla="*/ 508549 h 804069"/>
                <a:gd name="connsiteX22" fmla="*/ 390171 w 1015882"/>
                <a:gd name="connsiteY22" fmla="*/ 529039 h 804069"/>
                <a:gd name="connsiteX23" fmla="*/ 401076 w 1015882"/>
                <a:gd name="connsiteY23" fmla="*/ 551560 h 804069"/>
                <a:gd name="connsiteX24" fmla="*/ 219212 w 1015882"/>
                <a:gd name="connsiteY24" fmla="*/ 621495 h 804069"/>
                <a:gd name="connsiteX25" fmla="*/ 264 w 1015882"/>
                <a:gd name="connsiteY25" fmla="*/ 731798 h 804069"/>
                <a:gd name="connsiteX26" fmla="*/ 21126 w 1015882"/>
                <a:gd name="connsiteY26" fmla="*/ 768612 h 804069"/>
                <a:gd name="connsiteX27" fmla="*/ 206208 w 1015882"/>
                <a:gd name="connsiteY27" fmla="*/ 804070 h 804069"/>
                <a:gd name="connsiteX28" fmla="*/ 397182 w 1015882"/>
                <a:gd name="connsiteY28" fmla="*/ 791065 h 804069"/>
                <a:gd name="connsiteX29" fmla="*/ 397182 w 1015882"/>
                <a:gd name="connsiteY29" fmla="*/ 791065 h 804069"/>
                <a:gd name="connsiteX30" fmla="*/ 401009 w 1015882"/>
                <a:gd name="connsiteY30" fmla="*/ 789812 h 804069"/>
                <a:gd name="connsiteX31" fmla="*/ 551986 w 1015882"/>
                <a:gd name="connsiteY31" fmla="*/ 700065 h 804069"/>
                <a:gd name="connsiteX32" fmla="*/ 554899 w 1015882"/>
                <a:gd name="connsiteY32" fmla="*/ 697458 h 804069"/>
                <a:gd name="connsiteX33" fmla="*/ 1013826 w 1015882"/>
                <a:gd name="connsiteY33" fmla="*/ 89517 h 804069"/>
                <a:gd name="connsiteX34" fmla="*/ 1011862 w 1015882"/>
                <a:gd name="connsiteY34" fmla="*/ 75293 h 804069"/>
                <a:gd name="connsiteX35" fmla="*/ 454823 w 1015882"/>
                <a:gd name="connsiteY35" fmla="*/ 634804 h 804069"/>
                <a:gd name="connsiteX36" fmla="*/ 528280 w 1015882"/>
                <a:gd name="connsiteY36" fmla="*/ 690380 h 804069"/>
                <a:gd name="connsiteX37" fmla="*/ 457905 w 1015882"/>
                <a:gd name="connsiteY37" fmla="*/ 732205 h 804069"/>
                <a:gd name="connsiteX38" fmla="*/ 430507 w 1015882"/>
                <a:gd name="connsiteY38" fmla="*/ 708024 h 804069"/>
                <a:gd name="connsiteX39" fmla="*/ 423699 w 1015882"/>
                <a:gd name="connsiteY39" fmla="*/ 729021 h 804069"/>
                <a:gd name="connsiteX40" fmla="*/ 439684 w 1015882"/>
                <a:gd name="connsiteY40" fmla="*/ 743110 h 804069"/>
                <a:gd name="connsiteX41" fmla="*/ 413980 w 1015882"/>
                <a:gd name="connsiteY41" fmla="*/ 758384 h 804069"/>
                <a:gd name="connsiteX42" fmla="*/ 544637 w 1015882"/>
                <a:gd name="connsiteY42" fmla="*/ 677172 h 804069"/>
                <a:gd name="connsiteX43" fmla="*/ 512362 w 1015882"/>
                <a:gd name="connsiteY43" fmla="*/ 652652 h 804069"/>
                <a:gd name="connsiteX44" fmla="*/ 901185 w 1015882"/>
                <a:gd name="connsiteY44" fmla="*/ 136998 h 804069"/>
                <a:gd name="connsiteX45" fmla="*/ 933901 w 1015882"/>
                <a:gd name="connsiteY45" fmla="*/ 161585 h 804069"/>
                <a:gd name="connsiteX46" fmla="*/ 946127 w 1015882"/>
                <a:gd name="connsiteY46" fmla="*/ 145465 h 804069"/>
                <a:gd name="connsiteX47" fmla="*/ 865355 w 1015882"/>
                <a:gd name="connsiteY47" fmla="*/ 84505 h 804069"/>
                <a:gd name="connsiteX48" fmla="*/ 910702 w 1015882"/>
                <a:gd name="connsiteY48" fmla="*/ 24425 h 804069"/>
                <a:gd name="connsiteX49" fmla="*/ 991508 w 1015882"/>
                <a:gd name="connsiteY49" fmla="*/ 85385 h 804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15882" h="804069">
                  <a:moveTo>
                    <a:pt x="1011862" y="75293"/>
                  </a:moveTo>
                  <a:lnTo>
                    <a:pt x="914868" y="2073"/>
                  </a:lnTo>
                  <a:cubicBezTo>
                    <a:pt x="910401" y="-1323"/>
                    <a:pt x="904027" y="-456"/>
                    <a:pt x="900630" y="4011"/>
                  </a:cubicBezTo>
                  <a:cubicBezTo>
                    <a:pt x="900623" y="4019"/>
                    <a:pt x="900616" y="4029"/>
                    <a:pt x="900610" y="4038"/>
                  </a:cubicBezTo>
                  <a:lnTo>
                    <a:pt x="752206" y="200464"/>
                  </a:lnTo>
                  <a:lnTo>
                    <a:pt x="768394" y="212724"/>
                  </a:lnTo>
                  <a:lnTo>
                    <a:pt x="853061" y="100558"/>
                  </a:lnTo>
                  <a:lnTo>
                    <a:pt x="884929" y="124603"/>
                  </a:lnTo>
                  <a:lnTo>
                    <a:pt x="496140" y="640528"/>
                  </a:lnTo>
                  <a:lnTo>
                    <a:pt x="463933" y="616178"/>
                  </a:lnTo>
                  <a:lnTo>
                    <a:pt x="717594" y="280119"/>
                  </a:lnTo>
                  <a:lnTo>
                    <a:pt x="701372" y="267893"/>
                  </a:lnTo>
                  <a:lnTo>
                    <a:pt x="441513" y="612012"/>
                  </a:lnTo>
                  <a:cubicBezTo>
                    <a:pt x="440853" y="612896"/>
                    <a:pt x="440338" y="613878"/>
                    <a:pt x="439989" y="614925"/>
                  </a:cubicBezTo>
                  <a:lnTo>
                    <a:pt x="388173" y="771693"/>
                  </a:lnTo>
                  <a:cubicBezTo>
                    <a:pt x="345637" y="776943"/>
                    <a:pt x="98613" y="804747"/>
                    <a:pt x="33826" y="752728"/>
                  </a:cubicBezTo>
                  <a:cubicBezTo>
                    <a:pt x="26366" y="747431"/>
                    <a:pt x="21523" y="739198"/>
                    <a:pt x="20517" y="730105"/>
                  </a:cubicBezTo>
                  <a:cubicBezTo>
                    <a:pt x="15606" y="670771"/>
                    <a:pt x="120559" y="656039"/>
                    <a:pt x="222057" y="641476"/>
                  </a:cubicBezTo>
                  <a:cubicBezTo>
                    <a:pt x="324538" y="626913"/>
                    <a:pt x="421295" y="613197"/>
                    <a:pt x="421396" y="551458"/>
                  </a:cubicBezTo>
                  <a:cubicBezTo>
                    <a:pt x="421407" y="536869"/>
                    <a:pt x="414870" y="523044"/>
                    <a:pt x="403583" y="513799"/>
                  </a:cubicBezTo>
                  <a:cubicBezTo>
                    <a:pt x="339845" y="457749"/>
                    <a:pt x="109654" y="487146"/>
                    <a:pt x="99866" y="488399"/>
                  </a:cubicBezTo>
                  <a:lnTo>
                    <a:pt x="102508" y="508549"/>
                  </a:lnTo>
                  <a:cubicBezTo>
                    <a:pt x="166516" y="500184"/>
                    <a:pt x="342961" y="487552"/>
                    <a:pt x="390171" y="529039"/>
                  </a:cubicBezTo>
                  <a:cubicBezTo>
                    <a:pt x="397043" y="534498"/>
                    <a:pt x="401056" y="542785"/>
                    <a:pt x="401076" y="551560"/>
                  </a:cubicBezTo>
                  <a:cubicBezTo>
                    <a:pt x="401076" y="595587"/>
                    <a:pt x="308587" y="608795"/>
                    <a:pt x="219212" y="621495"/>
                  </a:cubicBezTo>
                  <a:cubicBezTo>
                    <a:pt x="108333" y="637073"/>
                    <a:pt x="-6238" y="653363"/>
                    <a:pt x="264" y="731798"/>
                  </a:cubicBezTo>
                  <a:cubicBezTo>
                    <a:pt x="1663" y="746480"/>
                    <a:pt x="9251" y="759867"/>
                    <a:pt x="21126" y="768612"/>
                  </a:cubicBezTo>
                  <a:cubicBezTo>
                    <a:pt x="55569" y="796281"/>
                    <a:pt x="131498" y="804070"/>
                    <a:pt x="206208" y="804070"/>
                  </a:cubicBezTo>
                  <a:cubicBezTo>
                    <a:pt x="270068" y="803552"/>
                    <a:pt x="333841" y="799210"/>
                    <a:pt x="397182" y="791065"/>
                  </a:cubicBezTo>
                  <a:lnTo>
                    <a:pt x="397182" y="791065"/>
                  </a:lnTo>
                  <a:cubicBezTo>
                    <a:pt x="398530" y="790916"/>
                    <a:pt x="399833" y="790489"/>
                    <a:pt x="401009" y="789812"/>
                  </a:cubicBezTo>
                  <a:lnTo>
                    <a:pt x="551986" y="700065"/>
                  </a:lnTo>
                  <a:cubicBezTo>
                    <a:pt x="553117" y="699391"/>
                    <a:pt x="554106" y="698508"/>
                    <a:pt x="554899" y="697458"/>
                  </a:cubicBezTo>
                  <a:lnTo>
                    <a:pt x="1013826" y="89517"/>
                  </a:lnTo>
                  <a:cubicBezTo>
                    <a:pt x="1017206" y="85046"/>
                    <a:pt x="1016329" y="78680"/>
                    <a:pt x="1011862" y="75293"/>
                  </a:cubicBezTo>
                  <a:close/>
                  <a:moveTo>
                    <a:pt x="454823" y="634804"/>
                  </a:moveTo>
                  <a:lnTo>
                    <a:pt x="528280" y="690380"/>
                  </a:lnTo>
                  <a:lnTo>
                    <a:pt x="457905" y="732205"/>
                  </a:lnTo>
                  <a:lnTo>
                    <a:pt x="430507" y="708024"/>
                  </a:lnTo>
                  <a:close/>
                  <a:moveTo>
                    <a:pt x="423699" y="729021"/>
                  </a:moveTo>
                  <a:lnTo>
                    <a:pt x="439684" y="743110"/>
                  </a:lnTo>
                  <a:lnTo>
                    <a:pt x="413980" y="758384"/>
                  </a:lnTo>
                  <a:close/>
                  <a:moveTo>
                    <a:pt x="544637" y="677172"/>
                  </a:moveTo>
                  <a:lnTo>
                    <a:pt x="512362" y="652652"/>
                  </a:lnTo>
                  <a:lnTo>
                    <a:pt x="901185" y="136998"/>
                  </a:lnTo>
                  <a:lnTo>
                    <a:pt x="933901" y="161585"/>
                  </a:lnTo>
                  <a:close/>
                  <a:moveTo>
                    <a:pt x="946127" y="145465"/>
                  </a:moveTo>
                  <a:lnTo>
                    <a:pt x="865355" y="84505"/>
                  </a:lnTo>
                  <a:lnTo>
                    <a:pt x="910702" y="24425"/>
                  </a:lnTo>
                  <a:lnTo>
                    <a:pt x="991508" y="85385"/>
                  </a:lnTo>
                  <a:close/>
                </a:path>
              </a:pathLst>
            </a:custGeom>
            <a:solidFill>
              <a:srgbClr val="000000"/>
            </a:solidFill>
            <a:ln w="3365" cap="flat">
              <a:noFill/>
              <a:prstDash val="solid"/>
              <a:miter/>
            </a:ln>
          </p:spPr>
          <p:txBody>
            <a:bodyPr rtlCol="0" anchor="ctr"/>
            <a:lstStyle/>
            <a:p>
              <a:endParaRPr lang="en-US"/>
            </a:p>
          </p:txBody>
        </p:sp>
      </p:grpSp>
      <p:grpSp>
        <p:nvGrpSpPr>
          <p:cNvPr id="4102" name="ee4p_icon_group">
            <a:extLst>
              <a:ext uri="{FF2B5EF4-FFF2-40B4-BE49-F238E27FC236}">
                <a16:creationId xmlns:a16="http://schemas.microsoft.com/office/drawing/2014/main" id="{E595D0E9-E945-31CA-D445-8ABD241E99C9}"/>
              </a:ext>
            </a:extLst>
          </p:cNvPr>
          <p:cNvGrpSpPr>
            <a:grpSpLocks noChangeAspect="1"/>
          </p:cNvGrpSpPr>
          <p:nvPr/>
        </p:nvGrpSpPr>
        <p:grpSpPr>
          <a:xfrm>
            <a:off x="10021596" y="2950609"/>
            <a:ext cx="419394" cy="419394"/>
            <a:chOff x="4032550" y="2888446"/>
            <a:chExt cx="1080000" cy="1080000"/>
          </a:xfrm>
        </p:grpSpPr>
        <p:grpSp>
          <p:nvGrpSpPr>
            <p:cNvPr id="4103" name="ee4p_icon_frame">
              <a:extLst>
                <a:ext uri="{FF2B5EF4-FFF2-40B4-BE49-F238E27FC236}">
                  <a16:creationId xmlns:a16="http://schemas.microsoft.com/office/drawing/2014/main" id="{FE152B99-C346-F444-872B-E454DAEFDF6C}"/>
                </a:ext>
              </a:extLst>
            </p:cNvPr>
            <p:cNvGrpSpPr>
              <a:grpSpLocks noChangeAspect="1"/>
            </p:cNvGrpSpPr>
            <p:nvPr/>
          </p:nvGrpSpPr>
          <p:grpSpPr>
            <a:xfrm>
              <a:off x="4032550" y="2888446"/>
              <a:ext cx="1080000" cy="1080000"/>
              <a:chOff x="4737100" y="1701800"/>
              <a:chExt cx="1098550" cy="1098550"/>
            </a:xfrm>
            <a:solidFill>
              <a:schemeClr val="accent3"/>
            </a:solidFill>
          </p:grpSpPr>
          <p:cxnSp>
            <p:nvCxnSpPr>
              <p:cNvPr id="4105" name="ee4p_icon_frame_top">
                <a:extLst>
                  <a:ext uri="{FF2B5EF4-FFF2-40B4-BE49-F238E27FC236}">
                    <a16:creationId xmlns:a16="http://schemas.microsoft.com/office/drawing/2014/main" id="{FD685B7C-1709-14C4-00A6-60C08FB7283B}"/>
                  </a:ext>
                </a:extLst>
              </p:cNvPr>
              <p:cNvCxnSpPr/>
              <p:nvPr/>
            </p:nvCxnSpPr>
            <p:spPr>
              <a:xfrm>
                <a:off x="4737100" y="170180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4106" name="ee4p_icon_frame_bottom">
                <a:extLst>
                  <a:ext uri="{FF2B5EF4-FFF2-40B4-BE49-F238E27FC236}">
                    <a16:creationId xmlns:a16="http://schemas.microsoft.com/office/drawing/2014/main" id="{868AD551-4D68-21E3-4B7D-07AACF4AB9C6}"/>
                  </a:ext>
                </a:extLst>
              </p:cNvPr>
              <p:cNvCxnSpPr/>
              <p:nvPr/>
            </p:nvCxnSpPr>
            <p:spPr>
              <a:xfrm>
                <a:off x="4737100" y="2800350"/>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4107" name="ee4p_icon_frame_left">
                <a:extLst>
                  <a:ext uri="{FF2B5EF4-FFF2-40B4-BE49-F238E27FC236}">
                    <a16:creationId xmlns:a16="http://schemas.microsoft.com/office/drawing/2014/main" id="{F2BEF2F7-71CF-6AA6-5AD2-ACA3278068F1}"/>
                  </a:ext>
                </a:extLst>
              </p:cNvPr>
              <p:cNvCxnSpPr>
                <a:cxnSpLocks/>
              </p:cNvCxnSpPr>
              <p:nvPr/>
            </p:nvCxnSpPr>
            <p:spPr>
              <a:xfrm rot="5400000">
                <a:off x="418782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cxnSp>
            <p:nvCxnSpPr>
              <p:cNvPr id="4108" name="ee4p_icon_frame_right">
                <a:extLst>
                  <a:ext uri="{FF2B5EF4-FFF2-40B4-BE49-F238E27FC236}">
                    <a16:creationId xmlns:a16="http://schemas.microsoft.com/office/drawing/2014/main" id="{2A951A2B-CC27-3F2D-136F-CA19665E7150}"/>
                  </a:ext>
                </a:extLst>
              </p:cNvPr>
              <p:cNvCxnSpPr>
                <a:cxnSpLocks/>
              </p:cNvCxnSpPr>
              <p:nvPr/>
            </p:nvCxnSpPr>
            <p:spPr>
              <a:xfrm rot="5400000">
                <a:off x="5286375" y="2251075"/>
                <a:ext cx="1098550" cy="0"/>
              </a:xfrm>
              <a:prstGeom prst="line">
                <a:avLst/>
              </a:prstGeom>
              <a:grpFill/>
              <a:ln w="0" cap="sq">
                <a:noFill/>
                <a:prstDash val="solid"/>
                <a:round/>
              </a:ln>
            </p:spPr>
            <p:style>
              <a:lnRef idx="1">
                <a:schemeClr val="accent1"/>
              </a:lnRef>
              <a:fillRef idx="0">
                <a:schemeClr val="accent1"/>
              </a:fillRef>
              <a:effectRef idx="0">
                <a:schemeClr val="accent1"/>
              </a:effectRef>
              <a:fontRef idx="minor">
                <a:schemeClr val="tx1"/>
              </a:fontRef>
            </p:style>
          </p:cxnSp>
        </p:grpSp>
        <p:sp>
          <p:nvSpPr>
            <p:cNvPr id="4104" name="ee4p_icon">
              <a:extLst>
                <a:ext uri="{FF2B5EF4-FFF2-40B4-BE49-F238E27FC236}">
                  <a16:creationId xmlns:a16="http://schemas.microsoft.com/office/drawing/2014/main" id="{9470A3BB-015A-ED3E-5601-4609AFFAFBEE}"/>
                </a:ext>
              </a:extLst>
            </p:cNvPr>
            <p:cNvSpPr>
              <a:spLocks noChangeAspect="1"/>
            </p:cNvSpPr>
            <p:nvPr/>
          </p:nvSpPr>
          <p:spPr>
            <a:xfrm>
              <a:off x="4065250" y="2921146"/>
              <a:ext cx="1014601" cy="1014600"/>
            </a:xfrm>
            <a:custGeom>
              <a:avLst/>
              <a:gdLst>
                <a:gd name="connsiteX0" fmla="*/ 901126 w 1014601"/>
                <a:gd name="connsiteY0" fmla="*/ 50146 h 1014600"/>
                <a:gd name="connsiteX1" fmla="*/ 658675 w 1014601"/>
                <a:gd name="connsiteY1" fmla="*/ 50146 h 1014600"/>
                <a:gd name="connsiteX2" fmla="*/ 9315 w 1014601"/>
                <a:gd name="connsiteY2" fmla="*/ 699505 h 1014600"/>
                <a:gd name="connsiteX3" fmla="*/ 6335 w 1014601"/>
                <a:gd name="connsiteY3" fmla="*/ 706482 h 1014600"/>
                <a:gd name="connsiteX4" fmla="*/ 2 w 1014601"/>
                <a:gd name="connsiteY4" fmla="*/ 1004238 h 1014600"/>
                <a:gd name="connsiteX5" fmla="*/ 9957 w 1014601"/>
                <a:gd name="connsiteY5" fmla="*/ 1014597 h 1014600"/>
                <a:gd name="connsiteX6" fmla="*/ 10162 w 1014601"/>
                <a:gd name="connsiteY6" fmla="*/ 1014601 h 1014600"/>
                <a:gd name="connsiteX7" fmla="*/ 10365 w 1014601"/>
                <a:gd name="connsiteY7" fmla="*/ 1014601 h 1014600"/>
                <a:gd name="connsiteX8" fmla="*/ 308121 w 1014601"/>
                <a:gd name="connsiteY8" fmla="*/ 1008268 h 1014600"/>
                <a:gd name="connsiteX9" fmla="*/ 315098 w 1014601"/>
                <a:gd name="connsiteY9" fmla="*/ 1005287 h 1014600"/>
                <a:gd name="connsiteX10" fmla="*/ 853578 w 1014601"/>
                <a:gd name="connsiteY10" fmla="*/ 466807 h 1014600"/>
                <a:gd name="connsiteX11" fmla="*/ 853601 w 1014601"/>
                <a:gd name="connsiteY11" fmla="*/ 452438 h 1014600"/>
                <a:gd name="connsiteX12" fmla="*/ 853578 w 1014601"/>
                <a:gd name="connsiteY12" fmla="*/ 452414 h 1014600"/>
                <a:gd name="connsiteX13" fmla="*/ 569369 w 1014601"/>
                <a:gd name="connsiteY13" fmla="*/ 168171 h 1014600"/>
                <a:gd name="connsiteX14" fmla="*/ 673034 w 1014601"/>
                <a:gd name="connsiteY14" fmla="*/ 64505 h 1014600"/>
                <a:gd name="connsiteX15" fmla="*/ 886767 w 1014601"/>
                <a:gd name="connsiteY15" fmla="*/ 64505 h 1014600"/>
                <a:gd name="connsiteX16" fmla="*/ 950098 w 1014601"/>
                <a:gd name="connsiteY16" fmla="*/ 127836 h 1014600"/>
                <a:gd name="connsiteX17" fmla="*/ 950098 w 1014601"/>
                <a:gd name="connsiteY17" fmla="*/ 341568 h 1014600"/>
                <a:gd name="connsiteX18" fmla="*/ 892118 w 1014601"/>
                <a:gd name="connsiteY18" fmla="*/ 399480 h 1014600"/>
                <a:gd name="connsiteX19" fmla="*/ 906477 w 1014601"/>
                <a:gd name="connsiteY19" fmla="*/ 413874 h 1014600"/>
                <a:gd name="connsiteX20" fmla="*/ 964457 w 1014601"/>
                <a:gd name="connsiteY20" fmla="*/ 355860 h 1014600"/>
                <a:gd name="connsiteX21" fmla="*/ 964457 w 1014601"/>
                <a:gd name="connsiteY21" fmla="*/ 113409 h 1014600"/>
                <a:gd name="connsiteX22" fmla="*/ 26350 w 1014601"/>
                <a:gd name="connsiteY22" fmla="*/ 719758 h 1014600"/>
                <a:gd name="connsiteX23" fmla="*/ 143258 w 1014601"/>
                <a:gd name="connsiteY23" fmla="*/ 750238 h 1014600"/>
                <a:gd name="connsiteX24" fmla="*/ 142479 w 1014601"/>
                <a:gd name="connsiteY24" fmla="*/ 861998 h 1014600"/>
                <a:gd name="connsiteX25" fmla="*/ 152131 w 1014601"/>
                <a:gd name="connsiteY25" fmla="*/ 872158 h 1014600"/>
                <a:gd name="connsiteX26" fmla="*/ 271139 w 1014601"/>
                <a:gd name="connsiteY26" fmla="*/ 878050 h 1014600"/>
                <a:gd name="connsiteX27" fmla="*/ 295319 w 1014601"/>
                <a:gd name="connsiteY27" fmla="*/ 988253 h 1014600"/>
                <a:gd name="connsiteX28" fmla="*/ 20525 w 1014601"/>
                <a:gd name="connsiteY28" fmla="*/ 994078 h 1014600"/>
                <a:gd name="connsiteX29" fmla="*/ 275406 w 1014601"/>
                <a:gd name="connsiteY29" fmla="*/ 857866 h 1014600"/>
                <a:gd name="connsiteX30" fmla="*/ 162867 w 1014601"/>
                <a:gd name="connsiteY30" fmla="*/ 852312 h 1014600"/>
                <a:gd name="connsiteX31" fmla="*/ 163612 w 1014601"/>
                <a:gd name="connsiteY31" fmla="*/ 746580 h 1014600"/>
                <a:gd name="connsiteX32" fmla="*/ 641132 w 1014601"/>
                <a:gd name="connsiteY32" fmla="*/ 269060 h 1014600"/>
                <a:gd name="connsiteX33" fmla="*/ 752689 w 1014601"/>
                <a:gd name="connsiteY33" fmla="*/ 380583 h 1014600"/>
                <a:gd name="connsiteX34" fmla="*/ 313709 w 1014601"/>
                <a:gd name="connsiteY34" fmla="*/ 977822 h 1014600"/>
                <a:gd name="connsiteX35" fmla="*/ 290375 w 1014601"/>
                <a:gd name="connsiteY35" fmla="*/ 871480 h 1014600"/>
                <a:gd name="connsiteX36" fmla="*/ 767218 w 1014601"/>
                <a:gd name="connsiteY36" fmla="*/ 394773 h 1014600"/>
                <a:gd name="connsiteX37" fmla="*/ 832038 w 1014601"/>
                <a:gd name="connsiteY37" fmla="*/ 459628 h 1014600"/>
                <a:gd name="connsiteX38" fmla="*/ 626942 w 1014601"/>
                <a:gd name="connsiteY38" fmla="*/ 254497 h 1014600"/>
                <a:gd name="connsiteX39" fmla="*/ 150404 w 1014601"/>
                <a:gd name="connsiteY39" fmla="*/ 731035 h 1014600"/>
                <a:gd name="connsiteX40" fmla="*/ 36206 w 1014601"/>
                <a:gd name="connsiteY40" fmla="*/ 701334 h 1014600"/>
                <a:gd name="connsiteX41" fmla="*/ 555009 w 1014601"/>
                <a:gd name="connsiteY41" fmla="*/ 182734 h 10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14601" h="1014600">
                  <a:moveTo>
                    <a:pt x="901126" y="50146"/>
                  </a:moveTo>
                  <a:cubicBezTo>
                    <a:pt x="834138" y="-16715"/>
                    <a:pt x="725663" y="-16715"/>
                    <a:pt x="658675" y="50146"/>
                  </a:cubicBezTo>
                  <a:lnTo>
                    <a:pt x="9315" y="699505"/>
                  </a:lnTo>
                  <a:cubicBezTo>
                    <a:pt x="7458" y="701358"/>
                    <a:pt x="6391" y="703857"/>
                    <a:pt x="6335" y="706482"/>
                  </a:cubicBezTo>
                  <a:lnTo>
                    <a:pt x="2" y="1004238"/>
                  </a:lnTo>
                  <a:cubicBezTo>
                    <a:pt x="-110" y="1009849"/>
                    <a:pt x="4347" y="1014486"/>
                    <a:pt x="9957" y="1014597"/>
                  </a:cubicBezTo>
                  <a:cubicBezTo>
                    <a:pt x="10025" y="1014601"/>
                    <a:pt x="10094" y="1014601"/>
                    <a:pt x="10162" y="1014601"/>
                  </a:cubicBezTo>
                  <a:lnTo>
                    <a:pt x="10365" y="1014601"/>
                  </a:lnTo>
                  <a:lnTo>
                    <a:pt x="308121" y="1008268"/>
                  </a:lnTo>
                  <a:cubicBezTo>
                    <a:pt x="310744" y="1008213"/>
                    <a:pt x="313244" y="1007143"/>
                    <a:pt x="315098" y="1005287"/>
                  </a:cubicBezTo>
                  <a:lnTo>
                    <a:pt x="853578" y="466807"/>
                  </a:lnTo>
                  <a:cubicBezTo>
                    <a:pt x="857554" y="462845"/>
                    <a:pt x="857564" y="456414"/>
                    <a:pt x="853601" y="452438"/>
                  </a:cubicBezTo>
                  <a:cubicBezTo>
                    <a:pt x="853594" y="452431"/>
                    <a:pt x="853584" y="452421"/>
                    <a:pt x="853578" y="452414"/>
                  </a:cubicBezTo>
                  <a:lnTo>
                    <a:pt x="569369" y="168171"/>
                  </a:lnTo>
                  <a:lnTo>
                    <a:pt x="673034" y="64505"/>
                  </a:lnTo>
                  <a:cubicBezTo>
                    <a:pt x="732098" y="5586"/>
                    <a:pt x="827703" y="5586"/>
                    <a:pt x="886767" y="64505"/>
                  </a:cubicBezTo>
                  <a:lnTo>
                    <a:pt x="950098" y="127836"/>
                  </a:lnTo>
                  <a:cubicBezTo>
                    <a:pt x="1009015" y="186899"/>
                    <a:pt x="1009015" y="282506"/>
                    <a:pt x="950098" y="341568"/>
                  </a:cubicBezTo>
                  <a:lnTo>
                    <a:pt x="892118" y="399480"/>
                  </a:lnTo>
                  <a:lnTo>
                    <a:pt x="906477" y="413874"/>
                  </a:lnTo>
                  <a:lnTo>
                    <a:pt x="964457" y="355860"/>
                  </a:lnTo>
                  <a:cubicBezTo>
                    <a:pt x="1031317" y="288872"/>
                    <a:pt x="1031317" y="180397"/>
                    <a:pt x="964457" y="113409"/>
                  </a:cubicBezTo>
                  <a:close/>
                  <a:moveTo>
                    <a:pt x="26350" y="719758"/>
                  </a:moveTo>
                  <a:lnTo>
                    <a:pt x="143258" y="750238"/>
                  </a:lnTo>
                  <a:lnTo>
                    <a:pt x="142479" y="861998"/>
                  </a:lnTo>
                  <a:cubicBezTo>
                    <a:pt x="142472" y="867416"/>
                    <a:pt x="146719" y="871887"/>
                    <a:pt x="152131" y="872158"/>
                  </a:cubicBezTo>
                  <a:lnTo>
                    <a:pt x="271139" y="878050"/>
                  </a:lnTo>
                  <a:lnTo>
                    <a:pt x="295319" y="988253"/>
                  </a:lnTo>
                  <a:lnTo>
                    <a:pt x="20525" y="994078"/>
                  </a:lnTo>
                  <a:close/>
                  <a:moveTo>
                    <a:pt x="275406" y="857866"/>
                  </a:moveTo>
                  <a:lnTo>
                    <a:pt x="162867" y="852312"/>
                  </a:lnTo>
                  <a:lnTo>
                    <a:pt x="163612" y="746580"/>
                  </a:lnTo>
                  <a:lnTo>
                    <a:pt x="641132" y="269060"/>
                  </a:lnTo>
                  <a:lnTo>
                    <a:pt x="752689" y="380583"/>
                  </a:lnTo>
                  <a:close/>
                  <a:moveTo>
                    <a:pt x="313709" y="977822"/>
                  </a:moveTo>
                  <a:lnTo>
                    <a:pt x="290375" y="871480"/>
                  </a:lnTo>
                  <a:lnTo>
                    <a:pt x="767218" y="394773"/>
                  </a:lnTo>
                  <a:lnTo>
                    <a:pt x="832038" y="459628"/>
                  </a:lnTo>
                  <a:close/>
                  <a:moveTo>
                    <a:pt x="626942" y="254497"/>
                  </a:moveTo>
                  <a:lnTo>
                    <a:pt x="150404" y="731035"/>
                  </a:lnTo>
                  <a:lnTo>
                    <a:pt x="36206" y="701334"/>
                  </a:lnTo>
                  <a:lnTo>
                    <a:pt x="555009" y="182734"/>
                  </a:lnTo>
                  <a:close/>
                </a:path>
              </a:pathLst>
            </a:custGeom>
            <a:solidFill>
              <a:srgbClr val="000000"/>
            </a:solidFill>
            <a:ln w="3365" cap="flat">
              <a:noFill/>
              <a:prstDash val="solid"/>
              <a:miter/>
            </a:ln>
          </p:spPr>
          <p:txBody>
            <a:bodyPr rtlCol="0" anchor="ctr"/>
            <a:lstStyle/>
            <a:p>
              <a:endParaRPr lang="en-US"/>
            </a:p>
          </p:txBody>
        </p:sp>
      </p:grpSp>
      <p:sp>
        <p:nvSpPr>
          <p:cNvPr id="4119" name="Rectangle 2">
            <a:extLst>
              <a:ext uri="{FF2B5EF4-FFF2-40B4-BE49-F238E27FC236}">
                <a16:creationId xmlns:a16="http://schemas.microsoft.com/office/drawing/2014/main" id="{52DA6D96-7E44-BAF1-563D-EDED004DCDCD}"/>
              </a:ext>
            </a:extLst>
          </p:cNvPr>
          <p:cNvSpPr/>
          <p:nvPr/>
        </p:nvSpPr>
        <p:spPr>
          <a:xfrm>
            <a:off x="575873" y="1035876"/>
            <a:ext cx="2069803" cy="655806"/>
          </a:xfrm>
          <a:prstGeom prst="rect">
            <a:avLst/>
          </a:prstGeom>
          <a:solidFill>
            <a:srgbClr val="97C62E"/>
          </a:solidFill>
          <a:ln w="12700" cap="flat" cmpd="sng" algn="ctr">
            <a:noFill/>
            <a:prstDash val="solid"/>
            <a:miter lim="800000"/>
          </a:ln>
          <a:effectLst/>
        </p:spPr>
        <p:txBody>
          <a:bodyPr rtlCol="0" anchor="ctr"/>
          <a:lstStyle/>
          <a:p>
            <a:pPr marL="180975" marR="0" lvl="0" indent="0" defTabSz="914400" eaLnBrk="1" fontAlgn="ctr" latinLnBrk="0" hangingPunct="1">
              <a:lnSpc>
                <a:spcPct val="107000"/>
              </a:lnSpc>
              <a:spcBef>
                <a:spcPts val="0"/>
              </a:spcBef>
              <a:spcAft>
                <a:spcPts val="800"/>
              </a:spcAft>
              <a:buClrTx/>
              <a:buSzTx/>
              <a:buFontTx/>
              <a:buNone/>
              <a:tabLst/>
              <a:defRPr/>
            </a:pPr>
            <a:r>
              <a:rPr lang="en-US" sz="1600" b="1" kern="0">
                <a:latin typeface="Calibri" panose="020F0502020204030204"/>
                <a:cs typeface="Arial" panose="020B0604020202020204" pitchFamily="34" charset="0"/>
              </a:rPr>
              <a:t>Europe’s Rail</a:t>
            </a:r>
            <a:br>
              <a:rPr lang="en-US" sz="1600" b="1" kern="0">
                <a:latin typeface="Calibri" panose="020F0502020204030204"/>
                <a:cs typeface="Arial" panose="020B0604020202020204" pitchFamily="34" charset="0"/>
              </a:rPr>
            </a:br>
            <a:r>
              <a:rPr lang="en-US" sz="1600" b="1" kern="0">
                <a:latin typeface="Calibri" panose="020F0502020204030204"/>
                <a:cs typeface="Arial" panose="020B0604020202020204" pitchFamily="34" charset="0"/>
              </a:rPr>
              <a:t>Flagship Project 5</a:t>
            </a:r>
          </a:p>
        </p:txBody>
      </p:sp>
      <p:sp>
        <p:nvSpPr>
          <p:cNvPr id="4120" name="Rectangle 49">
            <a:extLst>
              <a:ext uri="{FF2B5EF4-FFF2-40B4-BE49-F238E27FC236}">
                <a16:creationId xmlns:a16="http://schemas.microsoft.com/office/drawing/2014/main" id="{EB721585-F016-6F6E-5553-B2385707BEE2}"/>
              </a:ext>
            </a:extLst>
          </p:cNvPr>
          <p:cNvSpPr/>
          <p:nvPr/>
        </p:nvSpPr>
        <p:spPr>
          <a:xfrm>
            <a:off x="9262051" y="1035876"/>
            <a:ext cx="1409273" cy="655806"/>
          </a:xfrm>
          <a:prstGeom prst="rect">
            <a:avLst/>
          </a:prstGeom>
          <a:solidFill>
            <a:srgbClr val="97C62E"/>
          </a:solidFill>
          <a:ln w="12700" cap="flat" cmpd="sng" algn="ctr">
            <a:noFill/>
            <a:prstDash val="solid"/>
            <a:miter lim="800000"/>
          </a:ln>
          <a:effectLst/>
        </p:spPr>
        <p:txBody>
          <a:bodyPr lIns="0" rIns="0" rtlCol="0" anchor="ctr"/>
          <a:lstStyle/>
          <a:p>
            <a:pPr marL="0" marR="0" lvl="0" indent="0" algn="ctr" defTabSz="914400" eaLnBrk="1" fontAlgn="ctr" latinLnBrk="0" hangingPunct="1">
              <a:lnSpc>
                <a:spcPct val="107000"/>
              </a:lnSpc>
              <a:spcBef>
                <a:spcPts val="0"/>
              </a:spcBef>
              <a:spcAft>
                <a:spcPts val="800"/>
              </a:spcAft>
              <a:buClrTx/>
              <a:buSzTx/>
              <a:buFontTx/>
              <a:buNone/>
              <a:tabLst/>
              <a:defRPr/>
            </a:pPr>
            <a:r>
              <a:rPr kumimoji="0" lang="en-US" sz="1600" b="1" i="0" u="none" strike="noStrike" kern="0" cap="none" spc="0" normalizeH="0" baseline="0" noProof="0">
                <a:ln>
                  <a:noFill/>
                </a:ln>
                <a:effectLst/>
                <a:uLnTx/>
                <a:uFillTx/>
                <a:latin typeface="Calibri" panose="020F0502020204030204"/>
                <a:ea typeface="+mn-ea"/>
                <a:cs typeface="Arial" panose="020B0604020202020204" pitchFamily="34" charset="0"/>
              </a:rPr>
              <a:t>Europe’s Rail System Pillar</a:t>
            </a:r>
          </a:p>
        </p:txBody>
      </p:sp>
      <p:sp>
        <p:nvSpPr>
          <p:cNvPr id="4121" name="Rectangle 58">
            <a:extLst>
              <a:ext uri="{FF2B5EF4-FFF2-40B4-BE49-F238E27FC236}">
                <a16:creationId xmlns:a16="http://schemas.microsoft.com/office/drawing/2014/main" id="{7C040A69-D31A-BDF9-9649-E48BB682527D}"/>
              </a:ext>
            </a:extLst>
          </p:cNvPr>
          <p:cNvSpPr/>
          <p:nvPr/>
        </p:nvSpPr>
        <p:spPr>
          <a:xfrm>
            <a:off x="10717249" y="1035877"/>
            <a:ext cx="1368000" cy="655200"/>
          </a:xfrm>
          <a:prstGeom prst="rect">
            <a:avLst/>
          </a:prstGeom>
          <a:solidFill>
            <a:srgbClr val="97C62E"/>
          </a:solidFill>
          <a:ln w="12700" cap="flat" cmpd="sng" algn="ctr">
            <a:noFill/>
            <a:prstDash val="solid"/>
            <a:miter lim="800000"/>
          </a:ln>
          <a:effectLst/>
        </p:spPr>
        <p:txBody>
          <a:bodyPr rtlCol="0" anchor="ctr"/>
          <a:lstStyle/>
          <a:p>
            <a:pPr marL="0" marR="0" lvl="0" indent="0" algn="ctr" defTabSz="914400" eaLnBrk="1" fontAlgn="ctr" latinLnBrk="0" hangingPunct="1">
              <a:lnSpc>
                <a:spcPct val="107000"/>
              </a:lnSpc>
              <a:spcBef>
                <a:spcPts val="0"/>
              </a:spcBef>
              <a:spcAft>
                <a:spcPts val="800"/>
              </a:spcAft>
              <a:buClrTx/>
              <a:buSzTx/>
              <a:buFontTx/>
              <a:buNone/>
              <a:tabLst/>
              <a:defRPr/>
            </a:pPr>
            <a:r>
              <a:rPr kumimoji="0" lang="en-US" sz="1600" b="1" i="0" u="none" strike="noStrike" kern="0" cap="none" spc="0" normalizeH="0" baseline="0" noProof="0">
                <a:ln>
                  <a:noFill/>
                </a:ln>
                <a:effectLst/>
                <a:uLnTx/>
                <a:uFillTx/>
                <a:latin typeface="Calibri" panose="020F0502020204030204"/>
                <a:ea typeface="+mn-ea"/>
                <a:cs typeface="Arial" panose="020B0604020202020204" pitchFamily="34" charset="0"/>
              </a:rPr>
              <a:t>ESOs</a:t>
            </a:r>
          </a:p>
        </p:txBody>
      </p:sp>
      <p:grpSp>
        <p:nvGrpSpPr>
          <p:cNvPr id="4122" name="Gruppieren 1061">
            <a:extLst>
              <a:ext uri="{FF2B5EF4-FFF2-40B4-BE49-F238E27FC236}">
                <a16:creationId xmlns:a16="http://schemas.microsoft.com/office/drawing/2014/main" id="{E2EFEE55-60B7-1F78-B9CF-9DC60CF8F546}"/>
              </a:ext>
            </a:extLst>
          </p:cNvPr>
          <p:cNvGrpSpPr/>
          <p:nvPr/>
        </p:nvGrpSpPr>
        <p:grpSpPr>
          <a:xfrm>
            <a:off x="2697315" y="1036180"/>
            <a:ext cx="5022341" cy="655201"/>
            <a:chOff x="2813673" y="1040699"/>
            <a:chExt cx="5022341" cy="649983"/>
          </a:xfrm>
        </p:grpSpPr>
        <p:sp>
          <p:nvSpPr>
            <p:cNvPr id="4123" name="Rectangle 57">
              <a:extLst>
                <a:ext uri="{FF2B5EF4-FFF2-40B4-BE49-F238E27FC236}">
                  <a16:creationId xmlns:a16="http://schemas.microsoft.com/office/drawing/2014/main" id="{09D2DA6F-14B9-299F-C113-C50435D9752C}"/>
                </a:ext>
              </a:extLst>
            </p:cNvPr>
            <p:cNvSpPr/>
            <p:nvPr/>
          </p:nvSpPr>
          <p:spPr>
            <a:xfrm>
              <a:off x="2813673" y="1040699"/>
              <a:ext cx="5022341" cy="308318"/>
            </a:xfrm>
            <a:prstGeom prst="rect">
              <a:avLst/>
            </a:prstGeom>
            <a:solidFill>
              <a:srgbClr val="97C62E"/>
            </a:solidFill>
            <a:ln w="12700" cap="flat" cmpd="sng" algn="ctr">
              <a:noFill/>
              <a:prstDash val="solid"/>
              <a:miter lim="800000"/>
            </a:ln>
            <a:effectLst/>
          </p:spPr>
          <p:txBody>
            <a:bodyPr rtlCol="0" anchor="ctr"/>
            <a:lstStyle/>
            <a:p>
              <a:pPr marL="0" marR="0" lvl="0" indent="0" algn="ctr" defTabSz="914400" eaLnBrk="1" fontAlgn="ctr" latinLnBrk="0" hangingPunct="1">
                <a:lnSpc>
                  <a:spcPct val="107000"/>
                </a:lnSpc>
                <a:spcBef>
                  <a:spcPts val="0"/>
                </a:spcBef>
                <a:spcAft>
                  <a:spcPts val="800"/>
                </a:spcAft>
                <a:buClrTx/>
                <a:buSzTx/>
                <a:buFontTx/>
                <a:buNone/>
                <a:tabLst>
                  <a:tab pos="1346200" algn="l"/>
                </a:tabLst>
                <a:defRPr/>
              </a:pPr>
              <a:r>
                <a:rPr kumimoji="0" lang="en-US" sz="1600" b="1" i="0" u="none" strike="noStrike" kern="0" cap="none" spc="0" normalizeH="0" baseline="0" noProof="0">
                  <a:ln>
                    <a:noFill/>
                  </a:ln>
                  <a:effectLst/>
                  <a:uLnTx/>
                  <a:uFillTx/>
                  <a:latin typeface="Calibri" panose="020F0502020204030204"/>
                  <a:ea typeface="+mn-ea"/>
                  <a:cs typeface="Arial" panose="020B0604020202020204" pitchFamily="34" charset="0"/>
                </a:rPr>
                <a:t>EDDP</a:t>
              </a:r>
            </a:p>
          </p:txBody>
        </p:sp>
        <p:sp>
          <p:nvSpPr>
            <p:cNvPr id="4124" name="Rectangle 57">
              <a:extLst>
                <a:ext uri="{FF2B5EF4-FFF2-40B4-BE49-F238E27FC236}">
                  <a16:creationId xmlns:a16="http://schemas.microsoft.com/office/drawing/2014/main" id="{31B2870D-DBAC-5D87-D405-5E5CD02E29AE}"/>
                </a:ext>
              </a:extLst>
            </p:cNvPr>
            <p:cNvSpPr/>
            <p:nvPr/>
          </p:nvSpPr>
          <p:spPr>
            <a:xfrm>
              <a:off x="2813673" y="1384208"/>
              <a:ext cx="5022341" cy="306474"/>
            </a:xfrm>
            <a:prstGeom prst="rect">
              <a:avLst/>
            </a:prstGeom>
            <a:solidFill>
              <a:srgbClr val="97C62E"/>
            </a:solidFill>
            <a:ln w="12700" cap="flat" cmpd="sng" algn="ctr">
              <a:noFill/>
              <a:prstDash val="solid"/>
              <a:miter lim="800000"/>
            </a:ln>
            <a:effectLst/>
          </p:spPr>
          <p:txBody>
            <a:bodyPr rtlCol="0" anchor="ctr"/>
            <a:lstStyle/>
            <a:p>
              <a:pPr marL="0" marR="0" lvl="0" indent="0" defTabSz="914400" eaLnBrk="1" fontAlgn="ctr" latinLnBrk="0" hangingPunct="1">
                <a:lnSpc>
                  <a:spcPct val="107000"/>
                </a:lnSpc>
                <a:spcBef>
                  <a:spcPts val="0"/>
                </a:spcBef>
                <a:spcAft>
                  <a:spcPts val="800"/>
                </a:spcAft>
                <a:buClrTx/>
                <a:buSzTx/>
                <a:buFontTx/>
                <a:buNone/>
                <a:tabLst>
                  <a:tab pos="1346200" algn="l"/>
                </a:tabLst>
                <a:defRPr/>
              </a:pPr>
              <a:r>
                <a:rPr kumimoji="0" lang="en-US" sz="1600" b="1" i="0" u="none" strike="noStrike" kern="0" cap="none" spc="0" normalizeH="0" baseline="0" noProof="0">
                  <a:ln>
                    <a:noFill/>
                  </a:ln>
                  <a:effectLst/>
                  <a:uLnTx/>
                  <a:uFillTx/>
                  <a:latin typeface="Calibri" panose="020F0502020204030204"/>
                  <a:ea typeface="+mn-ea"/>
                  <a:cs typeface="Arial" panose="020B0604020202020204" pitchFamily="34" charset="0"/>
                </a:rPr>
                <a:t>	Stakeholder Management</a:t>
              </a:r>
            </a:p>
          </p:txBody>
        </p:sp>
      </p:grpSp>
      <p:sp>
        <p:nvSpPr>
          <p:cNvPr id="4127" name="Rectangle 40">
            <a:extLst>
              <a:ext uri="{FF2B5EF4-FFF2-40B4-BE49-F238E27FC236}">
                <a16:creationId xmlns:a16="http://schemas.microsoft.com/office/drawing/2014/main" id="{07A102AF-371B-E70E-366F-7CCD7077FBB7}"/>
              </a:ext>
            </a:extLst>
          </p:cNvPr>
          <p:cNvSpPr/>
          <p:nvPr/>
        </p:nvSpPr>
        <p:spPr>
          <a:xfrm>
            <a:off x="7765582" y="1035876"/>
            <a:ext cx="1450544" cy="655806"/>
          </a:xfrm>
          <a:prstGeom prst="rect">
            <a:avLst/>
          </a:prstGeom>
          <a:solidFill>
            <a:srgbClr val="97C62E"/>
          </a:solidFill>
          <a:ln w="12700" cap="flat" cmpd="sng" algn="ctr">
            <a:noFill/>
            <a:prstDash val="solid"/>
            <a:miter lim="800000"/>
          </a:ln>
          <a:effectLst/>
        </p:spPr>
        <p:txBody>
          <a:bodyPr rtlCol="0" anchor="ctr"/>
          <a:lstStyle/>
          <a:p>
            <a:pPr algn="ctr" fontAlgn="ctr">
              <a:lnSpc>
                <a:spcPct val="107000"/>
              </a:lnSpc>
              <a:spcAft>
                <a:spcPts val="800"/>
              </a:spcAft>
              <a:tabLst>
                <a:tab pos="1346200" algn="l"/>
              </a:tabLst>
            </a:pPr>
            <a:r>
              <a:rPr lang="en-US" sz="1600" b="1" kern="0">
                <a:latin typeface="Calibri" panose="020F0502020204030204"/>
                <a:cs typeface="Arial" panose="020B0604020202020204" pitchFamily="34" charset="0"/>
              </a:rPr>
              <a:t>EC/ERA</a:t>
            </a:r>
          </a:p>
        </p:txBody>
      </p:sp>
      <p:sp>
        <p:nvSpPr>
          <p:cNvPr id="10" name="Left Bracket 9">
            <a:extLst>
              <a:ext uri="{FF2B5EF4-FFF2-40B4-BE49-F238E27FC236}">
                <a16:creationId xmlns:a16="http://schemas.microsoft.com/office/drawing/2014/main" id="{3EB1BB3C-BF0A-7E6B-A740-1228D4DA2AFA}"/>
              </a:ext>
            </a:extLst>
          </p:cNvPr>
          <p:cNvSpPr/>
          <p:nvPr/>
        </p:nvSpPr>
        <p:spPr>
          <a:xfrm rot="5400000">
            <a:off x="6256106" y="-900295"/>
            <a:ext cx="127119" cy="5724771"/>
          </a:xfrm>
          <a:prstGeom prst="leftBracket">
            <a:avLst>
              <a:gd name="adj" fmla="val 85175"/>
            </a:avLst>
          </a:prstGeom>
          <a:ln w="28575" cap="flat" cmpd="sng" algn="ctr">
            <a:solidFill>
              <a:srgbClr val="1B4A6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Rechteck 105">
            <a:extLst>
              <a:ext uri="{FF2B5EF4-FFF2-40B4-BE49-F238E27FC236}">
                <a16:creationId xmlns:a16="http://schemas.microsoft.com/office/drawing/2014/main" id="{A874F70D-8BC6-515B-4EA5-06DD53C7B3E0}"/>
              </a:ext>
            </a:extLst>
          </p:cNvPr>
          <p:cNvSpPr/>
          <p:nvPr/>
        </p:nvSpPr>
        <p:spPr>
          <a:xfrm rot="16200000">
            <a:off x="4878897" y="-1147999"/>
            <a:ext cx="655808" cy="5022341"/>
          </a:xfrm>
          <a:prstGeom prst="rect">
            <a:avLst/>
          </a:prstGeom>
          <a:noFill/>
          <a:ln w="19050">
            <a:solidFill>
              <a:srgbClr val="FF66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54">
            <a:extLst>
              <a:ext uri="{FF2B5EF4-FFF2-40B4-BE49-F238E27FC236}">
                <a16:creationId xmlns:a16="http://schemas.microsoft.com/office/drawing/2014/main" id="{F2D6F479-C8D1-45F8-DF06-D82B3739FE23}"/>
              </a:ext>
            </a:extLst>
          </p:cNvPr>
          <p:cNvSpPr txBox="1"/>
          <p:nvPr/>
        </p:nvSpPr>
        <p:spPr>
          <a:xfrm>
            <a:off x="5010150" y="1760448"/>
            <a:ext cx="2486230" cy="245962"/>
          </a:xfrm>
          <a:prstGeom prst="rect">
            <a:avLst/>
          </a:prstGeom>
          <a:solidFill>
            <a:schemeClr val="bg1"/>
          </a:solidFill>
        </p:spPr>
        <p:txBody>
          <a:bodyPr wrap="square" tIns="0" bIns="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Bef>
                <a:spcPct val="0"/>
              </a:spcBef>
              <a:defRPr/>
            </a:pPr>
            <a:r>
              <a:rPr lang="en-US" b="1">
                <a:solidFill>
                  <a:srgbClr val="1B4A69"/>
                </a:solidFill>
                <a:latin typeface="Calibri" panose="020F0502020204030204"/>
                <a:ea typeface="+mj-ea"/>
                <a:cs typeface="Arial" panose="020B0604020202020204" pitchFamily="34" charset="0"/>
              </a:rPr>
              <a:t>DAC migration roadmap</a:t>
            </a:r>
          </a:p>
        </p:txBody>
      </p:sp>
      <p:pic>
        <p:nvPicPr>
          <p:cNvPr id="58" name="Grafik 57" descr="Kontinuierliche Verbesserung Silhouette">
            <a:extLst>
              <a:ext uri="{FF2B5EF4-FFF2-40B4-BE49-F238E27FC236}">
                <a16:creationId xmlns:a16="http://schemas.microsoft.com/office/drawing/2014/main" id="{A75AD449-968B-15E4-4C1B-81AD62192A81}"/>
              </a:ext>
            </a:extLst>
          </p:cNvPr>
          <p:cNvPicPr>
            <a:picLocks noChangeAspect="1"/>
          </p:cNvPicPr>
          <p:nvPr/>
        </p:nvPicPr>
        <p:blipFill rotWithShape="1">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rcRect t="23753" b="20795"/>
          <a:stretch/>
        </p:blipFill>
        <p:spPr>
          <a:xfrm>
            <a:off x="8219437" y="6498624"/>
            <a:ext cx="519364" cy="288000"/>
          </a:xfrm>
          <a:prstGeom prst="rect">
            <a:avLst/>
          </a:prstGeom>
        </p:spPr>
      </p:pic>
      <p:pic>
        <p:nvPicPr>
          <p:cNvPr id="36" name="Picture 35" descr="A close-up of a logo&#10;&#10;Description automatically generated">
            <a:extLst>
              <a:ext uri="{FF2B5EF4-FFF2-40B4-BE49-F238E27FC236}">
                <a16:creationId xmlns:a16="http://schemas.microsoft.com/office/drawing/2014/main" id="{1150D356-2266-A412-D42B-F98B79354C1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31031" y="1740540"/>
            <a:ext cx="1282789" cy="283817"/>
          </a:xfrm>
          <a:prstGeom prst="rect">
            <a:avLst/>
          </a:prstGeom>
          <a:solidFill>
            <a:schemeClr val="bg1"/>
          </a:solidFill>
        </p:spPr>
      </p:pic>
      <p:sp>
        <p:nvSpPr>
          <p:cNvPr id="43" name="Rechteck: abgerundete Ecken 4">
            <a:extLst>
              <a:ext uri="{FF2B5EF4-FFF2-40B4-BE49-F238E27FC236}">
                <a16:creationId xmlns:a16="http://schemas.microsoft.com/office/drawing/2014/main" id="{36C59411-7E50-76B4-D1C6-5609C7CF16EE}"/>
              </a:ext>
            </a:extLst>
          </p:cNvPr>
          <p:cNvSpPr/>
          <p:nvPr/>
        </p:nvSpPr>
        <p:spPr>
          <a:xfrm>
            <a:off x="3554520" y="6345525"/>
            <a:ext cx="5754580" cy="485370"/>
          </a:xfrm>
          <a:prstGeom prst="roundRect">
            <a:avLst/>
          </a:prstGeom>
          <a:noFill/>
          <a:ln w="38100">
            <a:solidFill>
              <a:srgbClr val="C0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A7BA97D7-1210-2CD5-0995-886C3D03AA5B}"/>
              </a:ext>
            </a:extLst>
          </p:cNvPr>
          <p:cNvSpPr/>
          <p:nvPr/>
        </p:nvSpPr>
        <p:spPr>
          <a:xfrm>
            <a:off x="9132708" y="707800"/>
            <a:ext cx="1566526" cy="1454972"/>
          </a:xfrm>
          <a:prstGeom prst="ellipse">
            <a:avLst/>
          </a:prstGeom>
          <a:noFill/>
          <a:ln w="76200">
            <a:solidFill>
              <a:srgbClr val="C0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741805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897b3003-ad72-401e-b72a-035896406988"/>
  <p:tag name="EASYMASTER" val="DB 16_9"/>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BC Repro&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quot; customLayoutIndex=&quot;11&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13&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13&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780&quot; timeFormatId=&quot;1&quot; startItemNo=&quot;1&quot; createSingleAgendaSlide=&quot;1&quot; createSeparatingSlides=&quot;1&quot; createBackupSlide=&quot;1&quot; layoutId=&quot;1_1&quot; hideSeparatingSlides=&quot;0&quot; createSections=&quot;0&quot; singleSlideId=&quot;af6aea50-fd3d-41ea-bf53-4a6c0e096c49&quot; backupSlideId=&quot;f164036d-1266-4551-84ea-51c9d75ee0cd&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177.7543&quot; /&gt;&lt;column field=&quot;responsible&quot; label=&quot;Responsible&quot; visible=&quot;1&quot; checked=&quot;1&quot; leftSpacing=&quot;10&quot; rightDistribute=&quot;1&quot; dock=&quot;1&quot; rightSpacing=&quot;177.7543&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5&quot; id=&quot;8c601ccd-6c41-4cc1-9486-c665bb5b4145&quot; parentId=&quot;&quot; level=&quot;1&quot; generateAgendaSlide=&quot;1&quot; showAgendaItem=&quot;1&quot; isBreak=&quot;0&quot; topic=&quot;Welcome and Introduction&quot; agendaSlideId=&quot;4217aae0-a430-48cb-9951-15aaedce5c9f&quot; /&gt;&lt;item duration=&quot;5&quot; id=&quot;e30b2499-98ef-4efc-8062-a4718186dd50&quot; parentId=&quot;&quot; level=&quot;1&quot; generateAgendaSlide=&quot;1&quot; showAgendaItem=&quot;1&quot; isBreak=&quot;0&quot; topic=&quot;100 Pre-deployment trains - The bigger picture&quot; agendaSlideId=&quot;fa3dd887-0e4f-4dfc-af14-f1b17fb20e27&quot; /&gt;&lt;item duration=&quot;5&quot; id=&quot;a9ccba2d-b4b6-47b1-9bef-c48e4c6c4303&quot; parentId=&quot;&quot; level=&quot;1&quot; generateAgendaSlide=&quot;1&quot; showAgendaItem=&quot;1&quot; isBreak=&quot;0&quot; topic=&quot;Objectives and Scope&quot; agendaSlideId=&quot;68304800-1f40-4d42-ab30-ff366fc0dbe1&quot; /&gt;&lt;item duration=&quot;5&quot; id=&quot;928ab7ba-3877-4583-860f-0ccbd9e114f1&quot; parentId=&quot;&quot; level=&quot;1&quot; generateAgendaSlide=&quot;1&quot; showAgendaItem=&quot;1&quot; isBreak=&quot;0&quot; topic=&quot;Phasing and Planning&quot; agendaSlideId=&quot;462200e9-91b1-4660-afad-0e11bf8ea7d1&quot; /&gt;&lt;item duration=&quot;5&quot; id=&quot;d268fc9b-15bf-44b3-b296-1c8dd0d4117b&quot; parentId=&quot;&quot; level=&quot;1&quot; generateAgendaSlide=&quot;1&quot; showAgendaItem=&quot;1&quot; isBreak=&quot;0&quot; topic=&quot;Project Structure&quot; agendaSlideId=&quot;0a9b0046-62bb-4242-a62a-d5e00a57606d&quot; /&gt;&lt;item duration=&quot;5&quot; id=&quot;36d850b1-a78b-4f22-b001-5ca98219762d&quot; parentId=&quot;&quot; level=&quot;1&quot; generateAgendaSlide=&quot;1&quot; showAgendaItem=&quot;1&quot; isBreak=&quot;0&quot; topic=&quot;Next Steps&quot; agendaSlideId=&quot;ed8d790d-437c-4948-b121-05f7c8cfa944&quot; /&gt;&lt;item duration=&quot;30&quot; id=&quot;54fd5ce9-8bed-4db2-a2e1-99166304b670&quot; parentId=&quot;&quot; level=&quot;1&quot; generateAgendaSlide=&quot;1&quot; showAgendaItem=&quot;1&quot; isBreak=&quot;0&quot; topic=&quot;Question and Answers&quot; agendaSlideId=&quot;ff285726-4523-4894-ba32-4132ca7c63eb&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SLIDEID" val="fa3dd887-0e4f-4dfc-af14-f1b17fb20e27"/>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b="1" dirty="0" err="1">
            <a:solidFill>
              <a:srgbClr val="0C1D3E"/>
            </a:solidFill>
            <a:ea typeface="Calibri" panose="020F050202020403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in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9392215-9989-417F-B55A-0593F45370CE}" vid="{21297FC6-CE05-413B-A143-8F8B975D01E7}"/>
    </a:ext>
  </a:extLst>
</a:theme>
</file>

<file path=ppt/theme/theme3.xml><?xml version="1.0" encoding="utf-8"?>
<a:theme xmlns:a="http://schemas.openxmlformats.org/drawingml/2006/main" name="1_Main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9392215-9989-417F-B55A-0593F45370CE}" vid="{21297FC6-CE05-413B-A143-8F8B975D01E7}"/>
    </a:ext>
  </a:extLst>
</a:theme>
</file>

<file path=ppt/theme/theme4.xml><?xml version="1.0" encoding="utf-8"?>
<a:theme xmlns:a="http://schemas.openxmlformats.org/drawingml/2006/main" name="1_Whit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b="1" dirty="0" err="1">
            <a:solidFill>
              <a:srgbClr val="0C1D3E"/>
            </a:solidFill>
            <a:ea typeface="Calibri" panose="020F050202020403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White titl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presentation ED_2022_Slide Master" id="{D26DBCC2-1735-4090-A87D-BF2E476794E5}" vid="{4D8C52FA-E533-4ABC-967C-FC822DF65825}"/>
    </a:ext>
  </a:extLst>
</a:theme>
</file>

<file path=ppt/theme/theme6.xml><?xml version="1.0" encoding="utf-8"?>
<a:theme xmlns:a="http://schemas.openxmlformats.org/drawingml/2006/main" name="2_Whit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b="1" dirty="0" err="1">
            <a:solidFill>
              <a:srgbClr val="0C1D3E"/>
            </a:solidFill>
            <a:ea typeface="Calibri" panose="020F050202020403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ERA_Document" ma:contentTypeID="0x010100ED194B9F7C15044CBD43C025EAD2ECAB0059C7EFF8E281FF41847B316CEC822547" ma:contentTypeVersion="1367" ma:contentTypeDescription="Create a new document." ma:contentTypeScope="" ma:versionID="5686914e835de0ce41795d21b0a157d7">
  <xsd:schema xmlns:xsd="http://www.w3.org/2001/XMLSchema" xmlns:xs="http://www.w3.org/2001/XMLSchema" xmlns:p="http://schemas.microsoft.com/office/2006/metadata/properties" xmlns:ns2="49592fe1-76b3-425e-9982-488f19897f48" xmlns:ns3="c906e969-aa68-4da7-9c3a-a293c5f8b41e" targetNamespace="http://schemas.microsoft.com/office/2006/metadata/properties" ma:root="true" ma:fieldsID="43052c78992c9621a0c4066d5228f03e" ns2:_="" ns3:_="">
    <xsd:import namespace="49592fe1-76b3-425e-9982-488f19897f48"/>
    <xsd:import namespace="c906e969-aa68-4da7-9c3a-a293c5f8b41e"/>
    <xsd:element name="properties">
      <xsd:complexType>
        <xsd:sequence>
          <xsd:element name="documentManagement">
            <xsd:complexType>
              <xsd:all>
                <xsd:element ref="ns2:Project_x0020_Code" minOccurs="0"/>
                <xsd:element ref="ns2:TaxCatchAllLabel" minOccurs="0"/>
                <xsd:element ref="ns2:TaxCatchAll" minOccurs="0"/>
                <xsd:element ref="ns2:gf147c1d654543abacff4a31dfc45623" minOccurs="0"/>
                <xsd:element ref="ns2:g337828d867743cab065af36c4e1a31c" minOccurs="0"/>
                <xsd:element ref="ns2:h70713ed90ce4adeabe454f2aabfa4ef" minOccurs="0"/>
                <xsd:element ref="ns2:_dlc_DocId" minOccurs="0"/>
                <xsd:element ref="ns2:_dlc_DocIdUrl" minOccurs="0"/>
                <xsd:element ref="ns2:_dlc_DocIdPersistId" minOccurs="0"/>
                <xsd:element ref="ns2:p326cb0d1ec842459739b9fbd76e8967" minOccurs="0"/>
                <xsd:element ref="ns3:MediaServiceMetadata" minOccurs="0"/>
                <xsd:element ref="ns3:MediaServiceFastMetadata" minOccurs="0"/>
                <xsd:element ref="ns3:MediaServiceObjectDetectorVersions" minOccurs="0"/>
                <xsd:element ref="ns3:MediaServiceSearchProperties" minOccurs="0"/>
                <xsd:element ref="ns3:MediaServiceDateTaken"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592fe1-76b3-425e-9982-488f19897f48" elementFormDefault="qualified">
    <xsd:import namespace="http://schemas.microsoft.com/office/2006/documentManagement/types"/>
    <xsd:import namespace="http://schemas.microsoft.com/office/infopath/2007/PartnerControls"/>
    <xsd:element name="Project_x0020_Code" ma:index="4" nillable="true" ma:displayName="Project Code" ma:description="Only if the project code exists" ma:internalName="Project_x0020_Code" ma:readOnly="false">
      <xsd:simpleType>
        <xsd:restriction base="dms:Text">
          <xsd:maxLength value="255"/>
        </xsd:restriction>
      </xsd:simpleType>
    </xsd:element>
    <xsd:element name="TaxCatchAllLabel" ma:index="8" nillable="true" ma:displayName="Taxonomy Catch All Column1" ma:hidden="true" ma:list="{598a463e-6d81-416e-8743-eab523be1b8a}" ma:internalName="TaxCatchAllLabel" ma:readOnly="true" ma:showField="CatchAllDataLabel" ma:web="c6820865-9993-4261-85b3-01753d86e300">
      <xsd:complexType>
        <xsd:complexContent>
          <xsd:extension base="dms:MultiChoiceLookup">
            <xsd:sequence>
              <xsd:element name="Value" type="dms:Lookup" maxOccurs="unbounded" minOccurs="0" nillable="true"/>
            </xsd:sequence>
          </xsd:extension>
        </xsd:complexContent>
      </xsd:complexType>
    </xsd:element>
    <xsd:element name="TaxCatchAll" ma:index="9" nillable="true" ma:displayName="Taxonomy Catch All Column" ma:hidden="true" ma:list="{598a463e-6d81-416e-8743-eab523be1b8a}" ma:internalName="TaxCatchAll" ma:readOnly="false" ma:showField="CatchAllData" ma:web="c6820865-9993-4261-85b3-01753d86e300">
      <xsd:complexType>
        <xsd:complexContent>
          <xsd:extension base="dms:MultiChoiceLookup">
            <xsd:sequence>
              <xsd:element name="Value" type="dms:Lookup" maxOccurs="unbounded" minOccurs="0" nillable="true"/>
            </xsd:sequence>
          </xsd:extension>
        </xsd:complexContent>
      </xsd:complexType>
    </xsd:element>
    <xsd:element name="gf147c1d654543abacff4a31dfc45623" ma:index="10" ma:taxonomy="true" ma:internalName="gf147c1d654543abacff4a31dfc45623" ma:taxonomyFieldName="Origin_x002d_Author" ma:displayName="Origin-Author" ma:readOnly="false" ma:default="1;#ERA|8287c6ea-6f12-4bfd-9fc9-6825fce534f5" ma:fieldId="{0f147c1d-6545-43ab-acff-4a31dfc45623}" ma:sspId="ec698c8c-469b-4390-ad13-30cd69364034" ma:termSetId="3bd325ee-ad60-4d4f-86e3-57acc143124f" ma:anchorId="00000000-0000-0000-0000-000000000000" ma:open="false" ma:isKeyword="false">
      <xsd:complexType>
        <xsd:sequence>
          <xsd:element ref="pc:Terms" minOccurs="0" maxOccurs="1"/>
        </xsd:sequence>
      </xsd:complexType>
    </xsd:element>
    <xsd:element name="g337828d867743cab065af36c4e1a31c" ma:index="11" ma:taxonomy="true" ma:internalName="g337828d867743cab065af36c4e1a31c" ma:taxonomyFieldName="Process" ma:displayName="Process" ma:indexed="true" ma:readOnly="false" ma:fieldId="{0337828d-8677-43ca-b065-af36c4e1a31c}" ma:sspId="ec698c8c-469b-4390-ad13-30cd69364034" ma:termSetId="41c32b1e-eebd-43d7-92b4-2a0b44ea6647" ma:anchorId="00000000-0000-0000-0000-000000000000" ma:open="false" ma:isKeyword="false">
      <xsd:complexType>
        <xsd:sequence>
          <xsd:element ref="pc:Terms" minOccurs="0" maxOccurs="1"/>
        </xsd:sequence>
      </xsd:complexType>
    </xsd:element>
    <xsd:element name="h70713ed90ce4adeabe454f2aabfa4ef" ma:index="12" ma:taxonomy="true" ma:internalName="h70713ed90ce4adeabe454f2aabfa4ef" ma:taxonomyFieldName="Document_x0020_type" ma:displayName="Document type" ma:readOnly="false" ma:fieldId="{170713ed-90ce-4ade-abe4-54f2aabfa4ef}" ma:sspId="ec698c8c-469b-4390-ad13-30cd69364034" ma:termSetId="07ece8fb-22f7-4a45-9bd0-d78559e8cddf" ma:anchorId="00000000-0000-0000-0000-000000000000" ma:open="false" ma:isKeyword="false">
      <xsd:complexType>
        <xsd:sequence>
          <xsd:element ref="pc:Terms" minOccurs="0" maxOccurs="1"/>
        </xsd:sequence>
      </xsd:complexType>
    </xsd:element>
    <xsd:element name="_dlc_DocId" ma:index="17" nillable="true" ma:displayName="Document ID Value" ma:description="The value of the document ID assigned to this item." ma:indexed="true" ma:internalName="_dlc_DocId" ma:readOnly="true">
      <xsd:simpleType>
        <xsd:restriction base="dms:Text"/>
      </xsd:simpleType>
    </xsd:element>
    <xsd:element name="_dlc_DocIdUrl" ma:index="1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p326cb0d1ec842459739b9fbd76e8967" ma:index="21" nillable="true" ma:taxonomy="true" ma:internalName="p326cb0d1ec842459739b9fbd76e8967" ma:taxonomyFieldName="ERAAC2_x0020__x002d__x0020_Topic" ma:displayName="ERAAC2 - Topic" ma:default="" ma:fieldId="{9326cb0d-1ec8-4245-9739-b9fbd76e8967}" ma:sspId="ec698c8c-469b-4390-ad13-30cd69364034" ma:termSetId="470987b7-aa59-4596-ae6c-b35b117cbe41"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906e969-aa68-4da7-9c3a-a293c5f8b41e"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ateTaken" ma:index="26" nillable="true" ma:displayName="MediaServiceDateTaken" ma:hidden="true" ma:indexed="true" ma:internalName="MediaServiceDateTaken" ma:readOnly="true">
      <xsd:simpleType>
        <xsd:restriction base="dms:Text"/>
      </xsd:simpleType>
    </xsd:element>
    <xsd:element name="MediaServiceGenerationTime" ma:index="27" nillable="true" ma:displayName="MediaServiceGenerationTime" ma:hidden="true" ma:internalName="MediaServiceGenerationTime" ma:readOnly="true">
      <xsd:simpleType>
        <xsd:restriction base="dms:Text"/>
      </xsd:simpleType>
    </xsd:element>
    <xsd:element name="MediaServiceEventHashCode" ma:index="28" nillable="true" ma:displayName="MediaServiceEventHashCode" ma:hidden="true" ma:internalName="MediaServiceEventHashCode" ma:readOnly="true">
      <xsd:simpleType>
        <xsd:restriction base="dms:Text"/>
      </xsd:simpleType>
    </xsd:element>
    <xsd:element name="MediaLengthInSeconds" ma:index="29"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9592fe1-76b3-425e-9982-488f19897f48">
      <Value>1</Value>
    </TaxCatchAll>
    <gf147c1d654543abacff4a31dfc45623 xmlns="49592fe1-76b3-425e-9982-488f19897f48">
      <Terms xmlns="http://schemas.microsoft.com/office/infopath/2007/PartnerControls">
        <TermInfo xmlns="http://schemas.microsoft.com/office/infopath/2007/PartnerControls">
          <TermName xmlns="http://schemas.microsoft.com/office/infopath/2007/PartnerControls">ERA</TermName>
          <TermId xmlns="http://schemas.microsoft.com/office/infopath/2007/PartnerControls">8287c6ea-6f12-4bfd-9fc9-6825fce534f5</TermId>
        </TermInfo>
      </Terms>
    </gf147c1d654543abacff4a31dfc45623>
    <g337828d867743cab065af36c4e1a31c xmlns="49592fe1-76b3-425e-9982-488f19897f48">
      <Terms xmlns="http://schemas.microsoft.com/office/infopath/2007/PartnerControls"/>
    </g337828d867743cab065af36c4e1a31c>
    <Project_x0020_Code xmlns="49592fe1-76b3-425e-9982-488f19897f48" xsi:nil="true"/>
    <h70713ed90ce4adeabe454f2aabfa4ef xmlns="49592fe1-76b3-425e-9982-488f19897f48">
      <Terms xmlns="http://schemas.microsoft.com/office/infopath/2007/PartnerControls"/>
    </h70713ed90ce4adeabe454f2aabfa4ef>
    <p326cb0d1ec842459739b9fbd76e8967 xmlns="49592fe1-76b3-425e-9982-488f19897f48">
      <Terms xmlns="http://schemas.microsoft.com/office/infopath/2007/PartnerControls"/>
    </p326cb0d1ec842459739b9fbd76e8967>
    <_dlc_DocId xmlns="49592fe1-76b3-425e-9982-488f19897f48">EXTID-509003686-104</_dlc_DocId>
    <_dlc_DocIdUrl xmlns="49592fe1-76b3-425e-9982-488f19897f48">
      <Url>https://eraeuropaeu.sharepoint.com/sites/ERAAC2/_layouts/15/DocIdRedir.aspx?ID=EXTID-509003686-104</Url>
      <Description>EXTID-509003686-104</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mso-contentType ?>
<SharedContentType xmlns="Microsoft.SharePoint.Taxonomy.ContentTypeSync" SourceId="ec698c8c-469b-4390-ad13-30cd69364034" ContentTypeId="0x010100ED194B9F7C15044CBD43C025EAD2ECAB" PreviousValue="true" LastSyncTimeStamp="2023-01-11T08:54:23.803Z"/>
</file>

<file path=customXml/itemProps1.xml><?xml version="1.0" encoding="utf-8"?>
<ds:datastoreItem xmlns:ds="http://schemas.openxmlformats.org/officeDocument/2006/customXml" ds:itemID="{A7AD4132-3AE8-4876-B39F-EDB83D4DB9DD}"/>
</file>

<file path=customXml/itemProps2.xml><?xml version="1.0" encoding="utf-8"?>
<ds:datastoreItem xmlns:ds="http://schemas.openxmlformats.org/officeDocument/2006/customXml" ds:itemID="{515E6C19-B08C-4E2A-940F-AC40BC78DAAD}">
  <ds:schemaRefs>
    <ds:schemaRef ds:uri="7108895b-886d-4b3e-82ed-74539e427214"/>
    <ds:schemaRef ds:uri="9acc6a66-b542-43f0-badd-23106e4dbc7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6EAD078-793F-4468-B470-9B0B1683526A}">
  <ds:schemaRefs>
    <ds:schemaRef ds:uri="http://schemas.microsoft.com/sharepoint/v3/contenttype/forms"/>
  </ds:schemaRefs>
</ds:datastoreItem>
</file>

<file path=customXml/itemProps4.xml><?xml version="1.0" encoding="utf-8"?>
<ds:datastoreItem xmlns:ds="http://schemas.openxmlformats.org/officeDocument/2006/customXml" ds:itemID="{086DA3DD-4954-406C-97A9-E562D87E3D3D}"/>
</file>

<file path=customXml/itemProps5.xml><?xml version="1.0" encoding="utf-8"?>
<ds:datastoreItem xmlns:ds="http://schemas.openxmlformats.org/officeDocument/2006/customXml" ds:itemID="{A8967E97-4E2C-44E6-BD86-6FE9060A97A4}"/>
</file>

<file path=docMetadata/LabelInfo.xml><?xml version="1.0" encoding="utf-8"?>
<clbl:labelList xmlns:clbl="http://schemas.microsoft.com/office/2020/mipLabelMetadata">
  <clbl:label id="{0cda0c22-3e77-43b9-8faf-0bad2baf7893}" enabled="1" method="Standard" siteId="{085c0b65-6a84-4006-851e-5faa7ec5367e}" removed="0"/>
</clbl:labelList>
</file>

<file path=docProps/app.xml><?xml version="1.0" encoding="utf-8"?>
<Properties xmlns="http://schemas.openxmlformats.org/officeDocument/2006/extended-properties" xmlns:vt="http://schemas.openxmlformats.org/officeDocument/2006/docPropsVTypes">
  <Template/>
  <TotalTime>0</TotalTime>
  <Words>2810</Words>
  <Application>Microsoft Office PowerPoint</Application>
  <PresentationFormat>Widescreen</PresentationFormat>
  <Paragraphs>411</Paragraphs>
  <Slides>32</Slides>
  <Notes>9</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32</vt:i4>
      </vt:variant>
    </vt:vector>
  </HeadingPairs>
  <TitlesOfParts>
    <vt:vector size="47" baseType="lpstr">
      <vt:lpstr>Arial</vt:lpstr>
      <vt:lpstr>Arial,Sans-Serif</vt:lpstr>
      <vt:lpstr>ArialMT</vt:lpstr>
      <vt:lpstr>Calibri</vt:lpstr>
      <vt:lpstr>Open Sans</vt:lpstr>
      <vt:lpstr>Symbol</vt:lpstr>
      <vt:lpstr>Tahoma</vt:lpstr>
      <vt:lpstr>Wingdings</vt:lpstr>
      <vt:lpstr>White</vt:lpstr>
      <vt:lpstr>Main template</vt:lpstr>
      <vt:lpstr>1_Main template</vt:lpstr>
      <vt:lpstr>1_White</vt:lpstr>
      <vt:lpstr>White title</vt:lpstr>
      <vt:lpstr>2_White</vt:lpstr>
      <vt:lpstr>think-cell Folie</vt:lpstr>
      <vt:lpstr>PowerPoint Presentation</vt:lpstr>
      <vt:lpstr>PowerPoint Presentation</vt:lpstr>
      <vt:lpstr>Agenda</vt:lpstr>
      <vt:lpstr>PowerPoint Presentation</vt:lpstr>
      <vt:lpstr>The challenges for EU rail freight</vt:lpstr>
      <vt:lpstr>Processes today – and tomorrow</vt:lpstr>
      <vt:lpstr>DAC core system &amp; applications (Full Digital Freight Train Operations)</vt:lpstr>
      <vt:lpstr>Preconditions for investing in DAC deployment  (= everything that needs to be proven before investment decisions will be taken)</vt:lpstr>
      <vt:lpstr>All DAC-related activities</vt:lpstr>
      <vt:lpstr>PowerPoint Presentation</vt:lpstr>
      <vt:lpstr>PowerPoint Presentation</vt:lpstr>
      <vt:lpstr>PowerPoint Presentation</vt:lpstr>
      <vt:lpstr>PowerPoint Presentation</vt:lpstr>
      <vt:lpstr>PowerPoint Presentation</vt:lpstr>
      <vt:lpstr>From prelimniary operational procedures to a rulebook </vt:lpstr>
      <vt:lpstr>From preliminary operational procedures to a rulebook (2/2)</vt:lpstr>
      <vt:lpstr>Two examples of a DAC rulebook</vt:lpstr>
      <vt:lpstr>Two examples of a DAC rulebook (2/2)</vt:lpstr>
      <vt:lpstr>PowerPoint Presentation</vt:lpstr>
      <vt:lpstr>Link between Rulebooks T2 &amp; T4 System Pillar </vt:lpstr>
      <vt:lpstr>PowerPoint Presentation</vt:lpstr>
      <vt:lpstr>agreeing on a common target picture on the rulebook</vt:lpstr>
      <vt:lpstr>PowerPoint Presentation</vt:lpstr>
      <vt:lpstr>Result of investigations of System Pillar Task 4</vt:lpstr>
      <vt:lpstr>Recommendation by System Pillar Task 4</vt:lpstr>
      <vt:lpstr>Current state of play in FP5 TRANS4M-R – realisation for “basic package” (= start of pre-deployment)</vt:lpstr>
      <vt:lpstr>Common understanding System Pillar / FP5</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spectacle before us</dc:title>
  <dc:creator>Sandy Lemoine</dc:creator>
  <cp:lastModifiedBy>VAN GILS Karel (EU-RAIL)</cp:lastModifiedBy>
  <cp:revision>2</cp:revision>
  <cp:lastPrinted>2024-02-22T11:14:41Z</cp:lastPrinted>
  <dcterms:created xsi:type="dcterms:W3CDTF">2022-04-26T05:31:16Z</dcterms:created>
  <dcterms:modified xsi:type="dcterms:W3CDTF">2024-04-22T12:3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ED194B9F7C15044CBD43C025EAD2ECAB0059C7EFF8E281FF41847B316CEC822547</vt:lpwstr>
  </property>
  <property fmtid="{D5CDD505-2E9C-101B-9397-08002B2CF9AE}" pid="4" name="_dlc_DocIdItemGuid">
    <vt:lpwstr>38892a2f-3309-405f-9f6f-095f0e2979ac</vt:lpwstr>
  </property>
  <property fmtid="{D5CDD505-2E9C-101B-9397-08002B2CF9AE}" pid="5" name="Origin-Author">
    <vt:lpwstr>1;#ERA|8287c6ea-6f12-4bfd-9fc9-6825fce534f5</vt:lpwstr>
  </property>
  <property fmtid="{D5CDD505-2E9C-101B-9397-08002B2CF9AE}" pid="6" name="Document type">
    <vt:lpwstr/>
  </property>
  <property fmtid="{D5CDD505-2E9C-101B-9397-08002B2CF9AE}" pid="7" name="Process">
    <vt:lpwstr/>
  </property>
  <property fmtid="{D5CDD505-2E9C-101B-9397-08002B2CF9AE}" pid="8" name="ERAAC2 - Topic">
    <vt:lpwstr/>
  </property>
</Properties>
</file>